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23.bin" ContentType="application/vnd.openxmlformats-officedocument.oleObject"/>
  <Override PartName="/ppt/embeddings/oleObject24.bin" ContentType="application/vnd.openxmlformats-officedocument.oleObject"/>
  <Override PartName="/ppt/embeddings/oleObject25.bin" ContentType="application/vnd.openxmlformats-officedocument.oleObject"/>
  <Override PartName="/ppt/embeddings/oleObject26.bin" ContentType="application/vnd.openxmlformats-officedocument.oleObject"/>
  <Override PartName="/ppt/embeddings/oleObject27.bin" ContentType="application/vnd.openxmlformats-officedocument.oleObject"/>
  <Override PartName="/ppt/embeddings/oleObject28.bin" ContentType="application/vnd.openxmlformats-officedocument.oleObject"/>
  <Override PartName="/ppt/embeddings/oleObject29.bin" ContentType="application/vnd.openxmlformats-officedocument.oleObject"/>
  <Override PartName="/ppt/embeddings/oleObject3.bin" ContentType="application/vnd.openxmlformats-officedocument.oleObject"/>
  <Override PartName="/ppt/embeddings/oleObject30.bin" ContentType="application/vnd.openxmlformats-officedocument.oleObject"/>
  <Override PartName="/ppt/embeddings/oleObject31.bin" ContentType="application/vnd.openxmlformats-officedocument.oleObject"/>
  <Override PartName="/ppt/embeddings/oleObject32.bin" ContentType="application/vnd.openxmlformats-officedocument.oleObject"/>
  <Override PartName="/ppt/embeddings/oleObject33.bin" ContentType="application/vnd.openxmlformats-officedocument.oleObject"/>
  <Override PartName="/ppt/embeddings/oleObject34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2.svg" ContentType="image/svg+xml"/>
  <Override PartName="/ppt/media/image28.svg" ContentType="image/svg+xml"/>
  <Override PartName="/ppt/media/image40.svg" ContentType="image/svg+xml"/>
  <Override PartName="/ppt/media/image41.svg" ContentType="image/svg+xml"/>
  <Override PartName="/ppt/media/image9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4"/>
    <p:sldMasterId id="2147483717" r:id="rId5"/>
    <p:sldMasterId id="2147483726" r:id="rId6"/>
    <p:sldMasterId id="2147483696" r:id="rId7"/>
  </p:sldMasterIdLst>
  <p:notesMasterIdLst>
    <p:notesMasterId r:id="rId17"/>
  </p:notesMasterIdLst>
  <p:handoutMasterIdLst>
    <p:handoutMasterId r:id="rId18"/>
  </p:handoutMasterIdLst>
  <p:sldIdLst>
    <p:sldId id="256" r:id="rId16"/>
    <p:sldId id="257" r:id="rId15"/>
    <p:sldId id="258" r:id="rId14"/>
    <p:sldId id="259" r:id="rId13"/>
    <p:sldId id="260" r:id="rId12"/>
    <p:sldId id="261" r:id="rId11"/>
    <p:sldId id="262" r:id="rId10"/>
    <p:sldId id="263" r:id="rId9"/>
    <p:sldId id="264" r:id="rId8"/>
    <p:sldId id="265" r:id="rId27"/>
    <p:sldId id="266" r:id="rId28"/>
    <p:sldId id="267" r:id="rId29"/>
    <p:sldId id="268" r:id="rId30"/>
    <p:sldId id="269" r:id="rId31"/>
    <p:sldId id="270" r:id="rId32"/>
    <p:sldId id="271" r:id="rId33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13E4221-D9F0-4F2C-A298-87DE63C6A55F}" name="Sophie Taylor-Jackson" initials="ST" userId="S::sophie.taylor-jackson@bfygroup.co.uk::2cfb7738-e99e-4214-be44-8417dbd859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4A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F6F092-DFA3-4247-BE26-EDE775A0E857}" v="115" dt="2026-04-08T18:12:40.8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1546" autoAdjust="0"/>
    <p:restoredTop sz="96213"/>
  </p:normalViewPr>
  <p:slideViewPr>
    <p:cSldViewPr snapToGrid="0">
      <p:cViewPr varScale="1">
        <p:scale>
          <a:sx n="121" d="100"/>
          <a:sy n="121" d="100"/>
        </p:scale>
        <p:origin x="592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9.xml"/><Relationship Id="rId9" Type="http://schemas.openxmlformats.org/officeDocument/2006/relationships/slide" Target="slides/slide8.xml"/><Relationship Id="rId10" Type="http://schemas.openxmlformats.org/officeDocument/2006/relationships/slide" Target="slides/slide7.xml"/><Relationship Id="rId11" Type="http://schemas.openxmlformats.org/officeDocument/2006/relationships/slide" Target="slides/slide6.xml"/><Relationship Id="rId12" Type="http://schemas.openxmlformats.org/officeDocument/2006/relationships/slide" Target="slides/slide5.xml"/><Relationship Id="rId13" Type="http://schemas.openxmlformats.org/officeDocument/2006/relationships/slide" Target="slides/slide4.xml"/><Relationship Id="rId14" Type="http://schemas.openxmlformats.org/officeDocument/2006/relationships/slide" Target="slides/slide3.xml"/><Relationship Id="rId15" Type="http://schemas.openxmlformats.org/officeDocument/2006/relationships/slide" Target="slides/slide2.xml"/><Relationship Id="rId16" Type="http://schemas.openxmlformats.org/officeDocument/2006/relationships/slide" Target="slides/slide1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tags" Target="tags/tag1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24" Type="http://schemas.microsoft.com/office/2016/11/relationships/changesInfo" Target="changesInfos/changesInfo1.xml"/><Relationship Id="rId25" Type="http://schemas.microsoft.com/office/2015/10/relationships/revisionInfo" Target="revisionInfo.xml"/><Relationship Id="rId26" Type="http://schemas.microsoft.com/office/2018/10/relationships/authors" Target="authors.xml"/><Relationship Id="rId27" Type="http://schemas.openxmlformats.org/officeDocument/2006/relationships/slide" Target="slides/slide10.xml"/><Relationship Id="rId28" Type="http://schemas.openxmlformats.org/officeDocument/2006/relationships/slide" Target="slides/slide11.xml"/><Relationship Id="rId29" Type="http://schemas.openxmlformats.org/officeDocument/2006/relationships/slide" Target="slides/slide12.xml"/><Relationship Id="rId30" Type="http://schemas.openxmlformats.org/officeDocument/2006/relationships/slide" Target="slides/slide13.xml"/><Relationship Id="rId31" Type="http://schemas.openxmlformats.org/officeDocument/2006/relationships/slide" Target="slides/slide14.xml"/><Relationship Id="rId32" Type="http://schemas.openxmlformats.org/officeDocument/2006/relationships/slide" Target="slides/slide15.xml"/><Relationship Id="rId33" Type="http://schemas.openxmlformats.org/officeDocument/2006/relationships/slide" Target="slides/slide1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 Turner-Tait" userId="05f03595-15b3-4db4-8553-be6dab6ffcd9" providerId="ADAL" clId="{0C66D44D-13DC-539C-822A-3D6A2053A9AF}"/>
    <pc:docChg chg="undo custSel modSld modMainMaster">
      <pc:chgData name="Matt Turner-Tait" userId="05f03595-15b3-4db4-8553-be6dab6ffcd9" providerId="ADAL" clId="{0C66D44D-13DC-539C-822A-3D6A2053A9AF}" dt="2026-04-08T21:05:11.372" v="357" actId="179"/>
      <pc:docMkLst>
        <pc:docMk/>
      </pc:docMkLst>
      <pc:sldChg chg="addSp delSp modSp mod chgLayout">
        <pc:chgData name="Matt Turner-Tait" userId="05f03595-15b3-4db4-8553-be6dab6ffcd9" providerId="ADAL" clId="{0C66D44D-13DC-539C-822A-3D6A2053A9AF}" dt="2026-04-08T17:58:12.568" v="284"/>
        <pc:sldMkLst>
          <pc:docMk/>
          <pc:sldMk cId="615020804" sldId="271"/>
        </pc:sldMkLst>
        <pc:spChg chg="add del mod">
          <ac:chgData name="Matt Turner-Tait" userId="05f03595-15b3-4db4-8553-be6dab6ffcd9" providerId="ADAL" clId="{0C66D44D-13DC-539C-822A-3D6A2053A9AF}" dt="2026-04-08T17:55:03.205" v="237" actId="478"/>
          <ac:spMkLst>
            <pc:docMk/>
            <pc:sldMk cId="615020804" sldId="271"/>
            <ac:spMk id="5" creationId="{6A997028-7A25-4126-C8FA-96047CBCBB19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7" creationId="{D204E5EF-CF3C-E321-49CB-0C665C228AC1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8" creationId="{988A95EB-D291-51D1-6DF6-ECCBD4BC695C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9" creationId="{DD452338-AC2B-8E93-0860-F25FB6834B11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10" creationId="{2909C02E-B119-8774-9CED-04840B2C9BF7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11" creationId="{B10B1548-682D-C76C-A6C6-63987F906B21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12" creationId="{40C678D7-DD6D-B246-B01F-ED489B42C169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13" creationId="{4F7C2DFF-7001-6422-04C5-FE65D15F24D3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15" creationId="{6F10703D-016A-4D83-0689-12B4974235EA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20" creationId="{3BA1468C-1214-6390-3C25-005FE02F289F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21" creationId="{FC3D7C13-787E-A6BB-1975-DB194410892C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24" creationId="{F380E7B0-AAE1-B31B-E3ED-BA1B19F0A859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27" creationId="{EDBFF8B6-DED9-327A-89F3-4B284178210B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30" creationId="{A0B10F6E-C8B3-F2F9-3DB5-22776E7917D4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31" creationId="{18086229-CB8A-4762-F9AB-9BB8136E5E1A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34" creationId="{B277253E-60FC-EC4A-E572-778E7FA9B46A}"/>
          </ac:spMkLst>
        </pc:spChg>
        <pc:graphicFrameChg chg="add mod modVis">
          <ac:chgData name="Matt Turner-Tait" userId="05f03595-15b3-4db4-8553-be6dab6ffcd9" providerId="ADAL" clId="{0C66D44D-13DC-539C-822A-3D6A2053A9AF}" dt="2026-04-08T17:56:55.658" v="260"/>
          <ac:graphicFrameMkLst>
            <pc:docMk/>
            <pc:sldMk cId="615020804" sldId="271"/>
            <ac:graphicFrameMk id="23" creationId="{A76D35A3-672B-6E3F-688C-A51C282F2EB3}"/>
          </ac:graphicFrameMkLst>
        </pc:graphicFrameChg>
        <pc:graphicFrameChg chg="add mod modVis">
          <ac:chgData name="Matt Turner-Tait" userId="05f03595-15b3-4db4-8553-be6dab6ffcd9" providerId="ADAL" clId="{0C66D44D-13DC-539C-822A-3D6A2053A9AF}" dt="2026-04-08T17:58:12.568" v="284"/>
          <ac:graphicFrameMkLst>
            <pc:docMk/>
            <pc:sldMk cId="615020804" sldId="271"/>
            <ac:graphicFrameMk id="38" creationId="{CB31786D-AB43-14C0-FD7E-E85D4F9A502C}"/>
          </ac:graphicFrameMkLst>
        </pc:graphicFrameChg>
      </pc:sldChg>
      <pc:sldChg chg="addSp delSp modSp mod chgLayout">
        <pc:chgData name="Matt Turner-Tait" userId="05f03595-15b3-4db4-8553-be6dab6ffcd9" providerId="ADAL" clId="{0C66D44D-13DC-539C-822A-3D6A2053A9AF}" dt="2026-04-08T18:12:40.803" v="347"/>
        <pc:sldMkLst>
          <pc:docMk/>
          <pc:sldMk cId="2104619793" sldId="273"/>
        </pc:sldMkLst>
        <pc:spChg chg="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" creationId="{81DB0408-672A-1464-AA5C-860CBB334540}"/>
          </ac:spMkLst>
        </pc:spChg>
        <pc:spChg chg="mod">
          <ac:chgData name="Matt Turner-Tait" userId="05f03595-15b3-4db4-8553-be6dab6ffcd9" providerId="ADAL" clId="{0C66D44D-13DC-539C-822A-3D6A2053A9AF}" dt="2026-04-08T18:12:39.969" v="345" actId="20577"/>
          <ac:spMkLst>
            <pc:docMk/>
            <pc:sldMk cId="2104619793" sldId="273"/>
            <ac:spMk id="4" creationId="{16E7FA33-79B3-600D-D903-1B3EF28C4839}"/>
          </ac:spMkLst>
        </pc:spChg>
        <pc:spChg chg="mod">
          <ac:chgData name="Matt Turner-Tait" userId="05f03595-15b3-4db4-8553-be6dab6ffcd9" providerId="ADAL" clId="{0C66D44D-13DC-539C-822A-3D6A2053A9AF}" dt="2026-04-08T16:20:50.020" v="21" actId="21"/>
          <ac:spMkLst>
            <pc:docMk/>
            <pc:sldMk cId="2104619793" sldId="273"/>
            <ac:spMk id="4" creationId="{5123FFFD-DDFD-9A7B-7A55-3C112FECCB2B}"/>
          </ac:spMkLst>
        </pc:spChg>
        <pc:spChg chg="mod">
          <ac:chgData name="Matt Turner-Tait" userId="05f03595-15b3-4db4-8553-be6dab6ffcd9" providerId="ADAL" clId="{0C66D44D-13DC-539C-822A-3D6A2053A9AF}" dt="2026-04-08T16:26:23.776" v="32" actId="21"/>
          <ac:spMkLst>
            <pc:docMk/>
            <pc:sldMk cId="2104619793" sldId="273"/>
            <ac:spMk id="5" creationId="{7B9BD707-D0E2-EA8A-FF26-5B10FC90F957}"/>
          </ac:spMkLst>
        </pc:spChg>
        <pc:spChg chg="add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5" creationId="{9B7593B8-1781-A40A-9D39-CD426573D763}"/>
          </ac:spMkLst>
        </pc:spChg>
        <pc:spChg chg="del">
          <ac:chgData name="Matt Turner-Tait" userId="05f03595-15b3-4db4-8553-be6dab6ffcd9" providerId="ADAL" clId="{0C66D44D-13DC-539C-822A-3D6A2053A9AF}" dt="2026-04-08T16:31:38.255" v="60" actId="700"/>
          <ac:spMkLst>
            <pc:docMk/>
            <pc:sldMk cId="2104619793" sldId="273"/>
            <ac:spMk id="6" creationId="{4A362557-A833-45BA-C9CB-B8835A926D4B}"/>
          </ac:spMkLst>
        </pc:spChg>
        <pc:spChg chg="add mod ord">
          <ac:chgData name="Matt Turner-Tait" userId="05f03595-15b3-4db4-8553-be6dab6ffcd9" providerId="ADAL" clId="{0C66D44D-13DC-539C-822A-3D6A2053A9AF}" dt="2026-04-08T18:08:58.140" v="315" actId="20577"/>
          <ac:spMkLst>
            <pc:docMk/>
            <pc:sldMk cId="2104619793" sldId="273"/>
            <ac:spMk id="6" creationId="{C49E64BB-A71E-444E-1C10-DE4E63707773}"/>
          </ac:spMkLst>
        </pc:spChg>
        <pc:spChg chg="del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7" creationId="{E01B13B4-5E9E-ECC9-C7D8-B924295BF6B4}"/>
          </ac:spMkLst>
        </pc:spChg>
        <pc:spChg chg="add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8" creationId="{BB3E3492-CBA8-499F-2AB1-BAFA50DBC8D7}"/>
          </ac:spMkLst>
        </pc:spChg>
        <pc:spChg chg="del mod">
          <ac:chgData name="Matt Turner-Tait" userId="05f03595-15b3-4db4-8553-be6dab6ffcd9" providerId="ADAL" clId="{0C66D44D-13DC-539C-822A-3D6A2053A9AF}" dt="2026-04-08T16:31:38.255" v="60" actId="700"/>
          <ac:spMkLst>
            <pc:docMk/>
            <pc:sldMk cId="2104619793" sldId="273"/>
            <ac:spMk id="9" creationId="{06E442EE-FF64-2F69-7DF3-65C55077F0AE}"/>
          </ac:spMkLst>
        </pc:spChg>
        <pc:spChg chg="mod">
          <ac:chgData name="Matt Turner-Tait" userId="05f03595-15b3-4db4-8553-be6dab6ffcd9" providerId="ADAL" clId="{0C66D44D-13DC-539C-822A-3D6A2053A9AF}" dt="2026-04-08T16:29:38.541" v="53" actId="108"/>
          <ac:spMkLst>
            <pc:docMk/>
            <pc:sldMk cId="2104619793" sldId="273"/>
            <ac:spMk id="10" creationId="{9A6EFB08-E0F9-50CD-9A91-8C86AC02C198}"/>
          </ac:spMkLst>
        </pc:spChg>
        <pc:spChg chg="add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10" creationId="{C88B44E9-18F0-D28F-C973-1844B1B86ECB}"/>
          </ac:spMkLst>
        </pc:spChg>
        <pc:spChg chg="mod">
          <ac:chgData name="Matt Turner-Tait" userId="05f03595-15b3-4db4-8553-be6dab6ffcd9" providerId="ADAL" clId="{0C66D44D-13DC-539C-822A-3D6A2053A9AF}" dt="2026-04-08T16:29:41.430" v="54" actId="108"/>
          <ac:spMkLst>
            <pc:docMk/>
            <pc:sldMk cId="2104619793" sldId="273"/>
            <ac:spMk id="11" creationId="{CAF1590C-9B2F-D1B6-042D-F11380D0A0C1}"/>
          </ac:spMkLst>
        </pc:spChg>
        <pc:spChg chg="del mod">
          <ac:chgData name="Matt Turner-Tait" userId="05f03595-15b3-4db4-8553-be6dab6ffcd9" providerId="ADAL" clId="{0C66D44D-13DC-539C-822A-3D6A2053A9AF}" dt="2026-04-08T16:31:38.255" v="60" actId="700"/>
          <ac:spMkLst>
            <pc:docMk/>
            <pc:sldMk cId="2104619793" sldId="273"/>
            <ac:spMk id="12" creationId="{40728690-4C14-F0CB-D67C-09944A20F346}"/>
          </ac:spMkLst>
        </pc:spChg>
        <pc:spChg chg="mod">
          <ac:chgData name="Matt Turner-Tait" userId="05f03595-15b3-4db4-8553-be6dab6ffcd9" providerId="ADAL" clId="{0C66D44D-13DC-539C-822A-3D6A2053A9AF}" dt="2026-04-08T16:30:04.939" v="56" actId="108"/>
          <ac:spMkLst>
            <pc:docMk/>
            <pc:sldMk cId="2104619793" sldId="273"/>
            <ac:spMk id="13" creationId="{090EA8CD-B519-E317-7CDC-837C7A87FEE8}"/>
          </ac:spMkLst>
        </pc:spChg>
        <pc:spChg chg="mod">
          <ac:chgData name="Matt Turner-Tait" userId="05f03595-15b3-4db4-8553-be6dab6ffcd9" providerId="ADAL" clId="{0C66D44D-13DC-539C-822A-3D6A2053A9AF}" dt="2026-04-08T16:30:09.530" v="57" actId="108"/>
          <ac:spMkLst>
            <pc:docMk/>
            <pc:sldMk cId="2104619793" sldId="273"/>
            <ac:spMk id="14" creationId="{08BF9F5D-79A2-432D-E0B1-C698AA4CB7C2}"/>
          </ac:spMkLst>
        </pc:spChg>
        <pc:spChg chg="add del mod modVis">
          <ac:chgData name="Matt Turner-Tait" userId="05f03595-15b3-4db4-8553-be6dab6ffcd9" providerId="ADAL" clId="{0C66D44D-13DC-539C-822A-3D6A2053A9AF}" dt="2026-04-08T18:12:39.925" v="342"/>
          <ac:spMkLst>
            <pc:docMk/>
            <pc:sldMk cId="2104619793" sldId="273"/>
            <ac:spMk id="14" creationId="{E15CE71F-299E-2206-47F9-BE0C6DC08B73}"/>
          </ac:spMkLst>
        </pc:spChg>
        <pc:spChg chg="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5" creationId="{F0BF8AD8-AFEC-9487-5D97-334978873201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6" creationId="{80C3896F-2BC5-5DC9-C185-450F1940C504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7" creationId="{A5F30FF3-72C2-075D-C7A8-802508D0D2E5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8" creationId="{A1A54CDF-BF17-1383-A29B-B6F5D4DE4004}"/>
          </ac:spMkLst>
        </pc:spChg>
        <pc:spChg chg="mod">
          <ac:chgData name="Matt Turner-Tait" userId="05f03595-15b3-4db4-8553-be6dab6ffcd9" providerId="ADAL" clId="{0C66D44D-13DC-539C-822A-3D6A2053A9AF}" dt="2026-04-08T16:33:24.157" v="74" actId="179"/>
          <ac:spMkLst>
            <pc:docMk/>
            <pc:sldMk cId="2104619793" sldId="273"/>
            <ac:spMk id="19" creationId="{A5F89E45-79AE-3BFC-980F-5A13847367F6}"/>
          </ac:spMkLst>
        </pc:spChg>
        <pc:spChg chg="mod">
          <ac:chgData name="Matt Turner-Tait" userId="05f03595-15b3-4db4-8553-be6dab6ffcd9" providerId="ADAL" clId="{0C66D44D-13DC-539C-822A-3D6A2053A9AF}" dt="2026-04-08T16:33:28.237" v="75" actId="179"/>
          <ac:spMkLst>
            <pc:docMk/>
            <pc:sldMk cId="2104619793" sldId="273"/>
            <ac:spMk id="20" creationId="{8473DB91-0A7C-A25B-2B49-94232290C4A0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21" creationId="{D2056F64-F54C-A88B-E754-4BD1113F711E}"/>
          </ac:spMkLst>
        </pc:spChg>
        <pc:spChg chg="mod">
          <ac:chgData name="Matt Turner-Tait" userId="05f03595-15b3-4db4-8553-be6dab6ffcd9" providerId="ADAL" clId="{0C66D44D-13DC-539C-822A-3D6A2053A9AF}" dt="2026-04-08T16:34:40.094" v="80" actId="108"/>
          <ac:spMkLst>
            <pc:docMk/>
            <pc:sldMk cId="2104619793" sldId="273"/>
            <ac:spMk id="22" creationId="{37773AA2-0FEE-20AB-FBD0-C0B2E627F52F}"/>
          </ac:spMkLst>
        </pc:spChg>
        <pc:spChg chg="mod">
          <ac:chgData name="Matt Turner-Tait" userId="05f03595-15b3-4db4-8553-be6dab6ffcd9" providerId="ADAL" clId="{0C66D44D-13DC-539C-822A-3D6A2053A9AF}" dt="2026-04-08T16:33:53.771" v="78" actId="948"/>
          <ac:spMkLst>
            <pc:docMk/>
            <pc:sldMk cId="2104619793" sldId="273"/>
            <ac:spMk id="23" creationId="{3DFBED4E-0442-8C80-8CBC-4F8D80B037C6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24" creationId="{E4316AC8-E45E-36EF-DBA4-042100292B11}"/>
          </ac:spMkLst>
        </pc:spChg>
        <pc:spChg chg="del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6" creationId="{1C0BE22C-E462-9DBF-D0DE-549E4C9B9787}"/>
          </ac:spMkLst>
        </pc:spChg>
        <pc:spChg chg="add del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7" creationId="{2390DCC9-B27E-8D2A-97FB-6630AF1CC899}"/>
          </ac:spMkLst>
        </pc:spChg>
        <pc:spChg chg="del mo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8" creationId="{2B59D9D7-8D51-181A-CEC1-CF564186015B}"/>
          </ac:spMkLst>
        </pc:spChg>
        <pc:spChg chg="add del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9" creationId="{F512A204-1F6D-C0C3-0B65-ED8ED9CBED56}"/>
          </ac:spMkLst>
        </pc:spChg>
        <pc:spChg chg="mod">
          <ac:chgData name="Matt Turner-Tait" userId="05f03595-15b3-4db4-8553-be6dab6ffcd9" providerId="ADAL" clId="{0C66D44D-13DC-539C-822A-3D6A2053A9AF}" dt="2026-04-08T17:39:07.634" v="225" actId="1035"/>
          <ac:spMkLst>
            <pc:docMk/>
            <pc:sldMk cId="2104619793" sldId="273"/>
            <ac:spMk id="30" creationId="{3D84673E-9C57-8455-3C10-B957FAE58F50}"/>
          </ac:spMkLst>
        </pc:spChg>
        <pc:spChg chg="mod">
          <ac:chgData name="Matt Turner-Tait" userId="05f03595-15b3-4db4-8553-be6dab6ffcd9" providerId="ADAL" clId="{0C66D44D-13DC-539C-822A-3D6A2053A9AF}" dt="2026-04-08T17:39:22.698" v="235" actId="1036"/>
          <ac:spMkLst>
            <pc:docMk/>
            <pc:sldMk cId="2104619793" sldId="273"/>
            <ac:spMk id="31" creationId="{8A365CF3-2145-D0DD-1CAC-C55C82C1F4CD}"/>
          </ac:spMkLst>
        </pc:spChg>
        <pc:spChg chg="del mo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32" creationId="{AA737F06-0539-4063-FABD-9D72C190538D}"/>
          </ac:spMkLst>
        </pc:spChg>
        <pc:spChg chg="mod">
          <ac:chgData name="Matt Turner-Tait" userId="05f03595-15b3-4db4-8553-be6dab6ffcd9" providerId="ADAL" clId="{0C66D44D-13DC-539C-822A-3D6A2053A9AF}" dt="2026-04-08T17:39:07.634" v="225" actId="1035"/>
          <ac:spMkLst>
            <pc:docMk/>
            <pc:sldMk cId="2104619793" sldId="273"/>
            <ac:spMk id="33" creationId="{30639406-91C2-2F14-B6C8-F3C0D8BC41A0}"/>
          </ac:spMkLst>
        </pc:spChg>
        <pc:spChg chg="mod">
          <ac:chgData name="Matt Turner-Tait" userId="05f03595-15b3-4db4-8553-be6dab6ffcd9" providerId="ADAL" clId="{0C66D44D-13DC-539C-822A-3D6A2053A9AF}" dt="2026-04-08T17:39:22.698" v="235" actId="1036"/>
          <ac:spMkLst>
            <pc:docMk/>
            <pc:sldMk cId="2104619793" sldId="273"/>
            <ac:spMk id="34" creationId="{620F676A-25F8-A475-7674-95144EB3B06B}"/>
          </ac:spMkLst>
        </pc:spChg>
        <pc:spChg chg="mod">
          <ac:chgData name="Matt Turner-Tait" userId="05f03595-15b3-4db4-8553-be6dab6ffcd9" providerId="ADAL" clId="{0C66D44D-13DC-539C-822A-3D6A2053A9AF}" dt="2026-04-08T17:39:19.755" v="233" actId="1036"/>
          <ac:spMkLst>
            <pc:docMk/>
            <pc:sldMk cId="2104619793" sldId="273"/>
            <ac:spMk id="35" creationId="{65D90D09-3A00-8ACA-D8A5-825C4E002FFE}"/>
          </ac:spMkLst>
        </pc:spChg>
        <pc:graphicFrameChg chg="add mod modVis">
          <ac:chgData name="Matt Turner-Tait" userId="05f03595-15b3-4db4-8553-be6dab6ffcd9" providerId="ADAL" clId="{0C66D44D-13DC-539C-822A-3D6A2053A9AF}" dt="2026-04-08T18:12:40.803" v="347"/>
          <ac:graphicFrameMkLst>
            <pc:docMk/>
            <pc:sldMk cId="2104619793" sldId="273"/>
            <ac:graphicFrameMk id="25" creationId="{C2AFCC55-76E7-97BD-8F81-0C006A6A4F15}"/>
          </ac:graphicFrameMkLst>
        </pc:graphicFrame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37" creationId="{5B77FF70-287D-0796-6DB0-5DB6F5681EDA}"/>
          </ac:cxnSpMkLst>
        </pc:cxnChg>
        <pc:cxnChg chg="add mod">
          <ac:chgData name="Matt Turner-Tait" userId="05f03595-15b3-4db4-8553-be6dab6ffcd9" providerId="ADAL" clId="{0C66D44D-13DC-539C-822A-3D6A2053A9AF}" dt="2026-04-08T16:39:27.519" v="201" actId="1076"/>
          <ac:cxnSpMkLst>
            <pc:docMk/>
            <pc:sldMk cId="2104619793" sldId="273"/>
            <ac:cxnSpMk id="39" creationId="{FF560321-48AE-4BA3-32F8-A6642318FA95}"/>
          </ac:cxnSpMkLst>
        </pc:cxnChg>
        <pc:cxnChg chg="add mod">
          <ac:chgData name="Matt Turner-Tait" userId="05f03595-15b3-4db4-8553-be6dab6ffcd9" providerId="ADAL" clId="{0C66D44D-13DC-539C-822A-3D6A2053A9AF}" dt="2026-04-08T16:39:25.200" v="200" actId="1076"/>
          <ac:cxnSpMkLst>
            <pc:docMk/>
            <pc:sldMk cId="2104619793" sldId="273"/>
            <ac:cxnSpMk id="40" creationId="{60A40EB9-50B6-B805-47F3-8A4E43E715C1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1" creationId="{D7B403E5-399D-BE1F-432B-FA5E5FBB0074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2" creationId="{17ACFBE6-266E-D27C-D884-6957F9D9F337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3" creationId="{433A5107-9F3B-8BEB-9429-DA238929B2BB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4" creationId="{4E083ACB-4598-C597-FE73-139F61A9C38E}"/>
          </ac:cxnSpMkLst>
        </pc:cxnChg>
      </pc:sldChg>
      <pc:sldMasterChg chg="modSldLayout">
        <pc:chgData name="Matt Turner-Tait" userId="05f03595-15b3-4db4-8553-be6dab6ffcd9" providerId="ADAL" clId="{0C66D44D-13DC-539C-822A-3D6A2053A9AF}" dt="2026-04-08T21:05:11.372" v="357" actId="179"/>
        <pc:sldMasterMkLst>
          <pc:docMk/>
          <pc:sldMasterMk cId="3124556521" sldId="2147483717"/>
        </pc:sldMasterMkLst>
        <pc:sldLayoutChg chg="addSp modSp mod">
          <pc:chgData name="Matt Turner-Tait" userId="05f03595-15b3-4db4-8553-be6dab6ffcd9" providerId="ADAL" clId="{0C66D44D-13DC-539C-822A-3D6A2053A9AF}" dt="2026-04-08T21:05:11.372" v="357" actId="179"/>
          <pc:sldLayoutMkLst>
            <pc:docMk/>
            <pc:sldMasterMk cId="3124556521" sldId="2147483717"/>
            <pc:sldLayoutMk cId="3506481800" sldId="2147483789"/>
          </pc:sldLayoutMkLst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2" creationId="{82D4F254-8E89-3A04-60AA-4349B680C996}"/>
            </ac:spMkLst>
          </pc:spChg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5" creationId="{FB9B8448-9BE6-8B3D-83B3-E1BA1AF97F4F}"/>
            </ac:spMkLst>
          </pc:spChg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10" creationId="{41B623AC-49BB-86BB-6870-10C55A5E98D4}"/>
            </ac:spMkLst>
          </pc:spChg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11" creationId="{6F0BF736-1FB2-2038-EF0D-BF67742F8E65}"/>
            </ac:spMkLst>
          </pc:spChg>
          <pc:spChg chg="add mod">
            <ac:chgData name="Matt Turner-Tait" userId="05f03595-15b3-4db4-8553-be6dab6ffcd9" providerId="ADAL" clId="{0C66D44D-13DC-539C-822A-3D6A2053A9AF}" dt="2026-04-08T21:04:52.600" v="352" actId="179"/>
            <ac:spMkLst>
              <pc:docMk/>
              <pc:sldMasterMk cId="3124556521" sldId="2147483717"/>
              <pc:sldLayoutMk cId="3506481800" sldId="2147483789"/>
              <ac:spMk id="12" creationId="{03CD0C5E-8CF5-E265-8A8B-6495D3DCE5B1}"/>
            </ac:spMkLst>
          </pc:spChg>
          <pc:spChg chg="add mod">
            <ac:chgData name="Matt Turner-Tait" userId="05f03595-15b3-4db4-8553-be6dab6ffcd9" providerId="ADAL" clId="{0C66D44D-13DC-539C-822A-3D6A2053A9AF}" dt="2026-04-08T21:05:04.073" v="355" actId="179"/>
            <ac:spMkLst>
              <pc:docMk/>
              <pc:sldMasterMk cId="3124556521" sldId="2147483717"/>
              <pc:sldLayoutMk cId="3506481800" sldId="2147483789"/>
              <ac:spMk id="16" creationId="{ED83D7F3-4375-3EF3-423F-3D35DFACA7D7}"/>
            </ac:spMkLst>
          </pc:spChg>
          <pc:spChg chg="mod">
            <ac:chgData name="Matt Turner-Tait" userId="05f03595-15b3-4db4-8553-be6dab6ffcd9" providerId="ADAL" clId="{0C66D44D-13DC-539C-822A-3D6A2053A9AF}" dt="2026-04-08T21:04:41.083" v="350" actId="179"/>
            <ac:spMkLst>
              <pc:docMk/>
              <pc:sldMasterMk cId="3124556521" sldId="2147483717"/>
              <pc:sldLayoutMk cId="3506481800" sldId="2147483789"/>
              <ac:spMk id="17" creationId="{198B2382-455B-E20D-7888-0004757E80B5}"/>
            </ac:spMkLst>
          </pc:spChg>
          <pc:spChg chg="mod">
            <ac:chgData name="Matt Turner-Tait" userId="05f03595-15b3-4db4-8553-be6dab6ffcd9" providerId="ADAL" clId="{0C66D44D-13DC-539C-822A-3D6A2053A9AF}" dt="2026-04-08T21:05:11.372" v="357" actId="179"/>
            <ac:spMkLst>
              <pc:docMk/>
              <pc:sldMasterMk cId="3124556521" sldId="2147483717"/>
              <pc:sldLayoutMk cId="3506481800" sldId="2147483789"/>
              <ac:spMk id="18" creationId="{21015995-1F64-42E9-DB50-8B79931E7372}"/>
            </ac:spMkLst>
          </pc:spChg>
        </pc:sldLayoutChg>
        <pc:sldLayoutChg chg="addSp modSp mod">
          <pc:chgData name="Matt Turner-Tait" userId="05f03595-15b3-4db4-8553-be6dab6ffcd9" providerId="ADAL" clId="{0C66D44D-13DC-539C-822A-3D6A2053A9AF}" dt="2026-04-08T18:08:44.846" v="310" actId="207"/>
          <pc:sldLayoutMkLst>
            <pc:docMk/>
            <pc:sldMasterMk cId="3124556521" sldId="2147483717"/>
            <pc:sldLayoutMk cId="440272893" sldId="2147483791"/>
          </pc:sldLayoutMkLst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4" creationId="{71135705-09E6-131B-9C0F-3E65A1BA870B}"/>
            </ac:spMkLst>
          </pc:spChg>
          <pc:spChg chg="mod">
            <ac:chgData name="Matt Turner-Tait" userId="05f03595-15b3-4db4-8553-be6dab6ffcd9" providerId="ADAL" clId="{0C66D44D-13DC-539C-822A-3D6A2053A9AF}" dt="2026-04-08T18:08:44.846" v="310" actId="207"/>
            <ac:spMkLst>
              <pc:docMk/>
              <pc:sldMasterMk cId="3124556521" sldId="2147483717"/>
              <pc:sldLayoutMk cId="440272893" sldId="2147483791"/>
              <ac:spMk id="5" creationId="{1BEEB274-B5B7-FF8B-1B85-4EC5703189D0}"/>
            </ac:spMkLst>
          </pc:spChg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10" creationId="{CC0D3178-2E83-25F2-E108-6F0E2FAEC85D}"/>
            </ac:spMkLst>
          </pc:spChg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11" creationId="{276A6100-C158-2D88-1AF7-E7BEB05999D9}"/>
            </ac:spMkLst>
          </pc:spChg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12" creationId="{40A88851-670B-3A14-00A7-CEBF6637B810}"/>
            </ac:spMkLst>
          </pc:spChg>
          <pc:spChg chg="mod">
            <ac:chgData name="Matt Turner-Tait" userId="05f03595-15b3-4db4-8553-be6dab6ffcd9" providerId="ADAL" clId="{0C66D44D-13DC-539C-822A-3D6A2053A9AF}" dt="2026-04-08T18:08:13.214" v="300" actId="1035"/>
            <ac:spMkLst>
              <pc:docMk/>
              <pc:sldMasterMk cId="3124556521" sldId="2147483717"/>
              <pc:sldLayoutMk cId="440272893" sldId="2147483791"/>
              <ac:spMk id="13" creationId="{F9DC339A-75FE-507E-C171-4C0F5131FF73}"/>
            </ac:spMkLst>
          </pc:spChg>
          <pc:spChg chg="mod">
            <ac:chgData name="Matt Turner-Tait" userId="05f03595-15b3-4db4-8553-be6dab6ffcd9" providerId="ADAL" clId="{0C66D44D-13DC-539C-822A-3D6A2053A9AF}" dt="2026-04-08T18:08:23.250" v="304" actId="1036"/>
            <ac:spMkLst>
              <pc:docMk/>
              <pc:sldMasterMk cId="3124556521" sldId="2147483717"/>
              <pc:sldLayoutMk cId="440272893" sldId="2147483791"/>
              <ac:spMk id="14" creationId="{285DB50C-9240-4021-0F94-281E619070F5}"/>
            </ac:spMkLst>
          </pc:spChg>
          <pc:spChg chg="mod">
            <ac:chgData name="Matt Turner-Tait" userId="05f03595-15b3-4db4-8553-be6dab6ffcd9" providerId="ADAL" clId="{0C66D44D-13DC-539C-822A-3D6A2053A9AF}" dt="2026-04-08T18:08:28.985" v="307" actId="554"/>
            <ac:spMkLst>
              <pc:docMk/>
              <pc:sldMasterMk cId="3124556521" sldId="2147483717"/>
              <pc:sldLayoutMk cId="440272893" sldId="2147483791"/>
              <ac:spMk id="15" creationId="{38DCE444-8051-485A-7227-C1E52E3B6DC5}"/>
            </ac:spMkLst>
          </pc:spChg>
          <pc:spChg chg="mod">
            <ac:chgData name="Matt Turner-Tait" userId="05f03595-15b3-4db4-8553-be6dab6ffcd9" providerId="ADAL" clId="{0C66D44D-13DC-539C-822A-3D6A2053A9AF}" dt="2026-04-08T18:08:25.701" v="305" actId="1036"/>
            <ac:spMkLst>
              <pc:docMk/>
              <pc:sldMasterMk cId="3124556521" sldId="2147483717"/>
              <pc:sldLayoutMk cId="440272893" sldId="2147483791"/>
              <ac:spMk id="23" creationId="{4C551A70-39BD-D693-A254-FC6B2382A40F}"/>
            </ac:spMkLst>
          </pc:spChg>
          <pc:grpChg chg="add mod">
            <ac:chgData name="Matt Turner-Tait" userId="05f03595-15b3-4db4-8553-be6dab6ffcd9" providerId="ADAL" clId="{0C66D44D-13DC-539C-822A-3D6A2053A9AF}" dt="2026-04-08T18:07:58.364" v="289"/>
            <ac:grpSpMkLst>
              <pc:docMk/>
              <pc:sldMasterMk cId="3124556521" sldId="2147483717"/>
              <pc:sldLayoutMk cId="440272893" sldId="2147483791"/>
              <ac:grpSpMk id="7" creationId="{33355E53-DFA2-F45D-3B0A-18B396DDA7F8}"/>
            </ac:grpSpMkLst>
          </pc:grp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6" creationId="{E9E2A7C5-8E84-B57A-C27B-6C257595C386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7" creationId="{A61EE6FC-1C3F-59CB-095D-874D3621BB81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8" creationId="{45F1B619-76B8-952A-DBE2-98561B2E1425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9" creationId="{955DA2DB-C9E2-8F00-D118-4FB20F2B0479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20" creationId="{23382A80-A4B1-C89A-EA59-2C9FBFEF3198}"/>
            </ac:cxnSpMkLst>
          </pc:cxnChg>
        </pc:sldLayoutChg>
      </pc:sldMaster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EB00371-13A9-A983-B021-43972DA4C8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9C69FE-A574-64CE-D4D0-832E8C93B96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EF331-30B4-44B0-86B5-22EE7D517DC1}" type="datetimeFigureOut">
              <a:rPr lang="en-GB" smtClean="0"/>
              <a:t>08/04/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30CA89-DDC1-558D-C4EC-076E774B752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E20883-38BD-892D-7A99-18F6A368DF2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D9AC6D-3B38-49AB-89EF-8DF3D27AB5B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1175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5C09A6-63B1-4F4E-A504-D6FB700D005A}" type="datetimeFigureOut">
              <a:rPr lang="en-GB" smtClean="0"/>
              <a:t>08/04/202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DB3BFB-A8D5-F342-8A36-806828226E6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790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/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Highlights quickest route to value.</a:t>
            </a:r>
            <a:br/>
            <a:br/>
            <a:r>
              <a:t>Focus on internal optimisation before external change.</a:t>
            </a:r>
            <a:br/>
            <a:br/>
            <a:r>
              <a:t>CONSIDERATIONS</a:t>
            </a:r>
            <a:br/>
            <a:r>
              <a:t>Often the lowest cost, highest impact opportunity.</a:t>
            </a:r>
            <a:br/>
            <a:br/>
            <a:r>
              <a:t>OPEN QUESTIONS</a:t>
            </a:r>
            <a:br/>
            <a:r>
              <a:t>What data exists today that is not used in decision making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ransition to competitive dynamics and strategy.</a:t>
            </a:r>
            <a:br/>
            <a:br/>
            <a:r>
              <a:t>Focus shifts from internal diagnosis to market interaction.</a:t>
            </a:r>
            <a:br/>
            <a:br/>
            <a:r>
              <a:t>CONSIDERATIONS</a:t>
            </a:r>
            <a:br/>
            <a:r>
              <a:t>Frame discussion around timing and competitor behaviour.</a:t>
            </a:r>
            <a:br/>
            <a:br/>
            <a:r>
              <a:t>OPEN QUESTIONS</a:t>
            </a:r>
            <a:br/>
            <a:r>
              <a:t>How quickly will competitors mov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Sets out the first-mover problem clearly.</a:t>
            </a:r>
            <a:br/>
            <a:br/>
            <a:r>
              <a:t>Short-term vs long-term trade-off.</a:t>
            </a:r>
            <a:br/>
            <a:br/>
            <a:r>
              <a:t>CONSIDERATIONS</a:t>
            </a:r>
            <a:br/>
            <a:r>
              <a:t>Requires explicit strategic choice.</a:t>
            </a:r>
            <a:br/>
            <a:br/>
            <a:r>
              <a:t>OPEN QUESTIONS</a:t>
            </a:r>
            <a:br/>
            <a:r>
              <a:t>Is the organisation prepared to accept short-term pain for long-term gai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Describes collective equilibrium.</a:t>
            </a:r>
            <a:br/>
            <a:br/>
            <a:r>
              <a:t>Individually rational but collectively suboptimal.</a:t>
            </a:r>
            <a:br/>
            <a:br/>
            <a:r>
              <a:t>CONSIDERATIONS</a:t>
            </a:r>
            <a:br/>
            <a:r>
              <a:t>Important to understand that inertia is not neutral.</a:t>
            </a:r>
            <a:br/>
            <a:br/>
            <a:r>
              <a:t>OPEN QUESTIONS</a:t>
            </a:r>
            <a:br/>
            <a:r>
              <a:t>How long could this equilibrium persis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Defines long-term steady state.</a:t>
            </a:r>
            <a:br/>
            <a:br/>
            <a:r>
              <a:t>Capability determines performance.</a:t>
            </a:r>
            <a:br/>
            <a:br/>
            <a:r>
              <a:t>CONSIDERATIONS</a:t>
            </a:r>
            <a:br/>
            <a:r>
              <a:t>This state is inevitable, timing is uncertain.</a:t>
            </a:r>
            <a:br/>
            <a:br/>
            <a:r>
              <a:t>OPEN QUESTIONS</a:t>
            </a:r>
            <a:br/>
            <a:r>
              <a:t>What capabilities differentiate winners in this future stat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Provides decision framing.</a:t>
            </a:r>
            <a:br/>
            <a:br/>
            <a:r>
              <a:t>Highlights absence of neutral option.</a:t>
            </a:r>
            <a:br/>
            <a:br/>
            <a:r>
              <a:t>CONSIDERATIONS</a:t>
            </a:r>
            <a:br/>
            <a:r>
              <a:t>Decision should be explicit and aligned across leadership.</a:t>
            </a:r>
            <a:br/>
            <a:br/>
            <a:r>
              <a:t>OPEN QUESTIONS</a:t>
            </a:r>
            <a:br/>
            <a:r>
              <a:t>Which strategy aligns with risk appetite and current capability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ranslates strategy into organisational implications.</a:t>
            </a:r>
            <a:br/>
            <a:br/>
            <a:r>
              <a:t>Integration is critical to capturing value.</a:t>
            </a:r>
            <a:br/>
            <a:br/>
            <a:r>
              <a:t>CONSIDERATIONS</a:t>
            </a:r>
            <a:br/>
            <a:r>
              <a:t>Operating model change may be required, not just capability uplift.</a:t>
            </a:r>
            <a:br/>
            <a:br/>
            <a:r>
              <a:t>OPEN QUESTIONS</a:t>
            </a:r>
            <a:br/>
            <a:r>
              <a:t>What organisational changes are needed to enable this integrati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slide should stand alone as a full narrative of the pack.</a:t>
            </a:r>
            <a:br/>
            <a:br/>
            <a:r>
              <a:t>The intent is to anchor the discussion in commercial impact rather than regulatory detail.</a:t>
            </a:r>
            <a:br/>
            <a:br/>
            <a:r>
              <a:t>CONSIDERATIONS</a:t>
            </a:r>
            <a:br/>
            <a:r>
              <a:t>Ensure stakeholders align that MHHS is not optional and that inaction is itself a strategic choice.</a:t>
            </a:r>
            <a:br/>
            <a:br/>
            <a:r>
              <a:t>OPEN QUESTIONS</a:t>
            </a:r>
            <a:br/>
            <a:r>
              <a:t>Where does the organisation currently sit in terms of HH-level visibility and pricing capability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slide reframes the commercial model.</a:t>
            </a:r>
            <a:br/>
            <a:br/>
            <a:r>
              <a:t>The key shift is from selling energy volume to managing consumption behaviour and timing.</a:t>
            </a:r>
            <a:br/>
            <a:br/>
            <a:r>
              <a:t>CONSIDERATIONS</a:t>
            </a:r>
            <a:br/>
            <a:r>
              <a:t>Avoid technical settlement detail. Keep focus on commercial translation.</a:t>
            </a:r>
            <a:br/>
            <a:br/>
            <a:r>
              <a:t>OPEN QUESTIONS</a:t>
            </a:r>
            <a:br/>
            <a:r>
              <a:t>How well does the organisation currently understand customer load shape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his slide positions MHHS as an accelerator of existing issues.</a:t>
            </a:r>
            <a:br/>
            <a:br/>
            <a:r>
              <a:t>It removes the misconception that MHHS creates new risk.</a:t>
            </a:r>
            <a:br/>
            <a:br/>
            <a:r>
              <a:t>CONSIDERATIONS</a:t>
            </a:r>
            <a:br/>
            <a:r>
              <a:t>Encourage honest reflection on current gaps rather than defensive positioning.</a:t>
            </a:r>
            <a:br/>
            <a:br/>
            <a:r>
              <a:t>OPEN QUESTIONS</a:t>
            </a:r>
            <a:br/>
            <a:r>
              <a:t>Where are the biggest disconnects today between pricing, trading and settlemen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Defines the three core commercial levers that determine outcomes.</a:t>
            </a:r>
            <a:br/>
            <a:br/>
            <a:r>
              <a:t>Integration across these levers is critical.</a:t>
            </a:r>
            <a:br/>
            <a:br/>
            <a:r>
              <a:t>CONSIDERATIONS</a:t>
            </a:r>
            <a:br/>
            <a:r>
              <a:t>Organisations often optimise each lever independently, which will not work under MHHS.</a:t>
            </a:r>
            <a:br/>
            <a:br/>
            <a:r>
              <a:t>OPEN QUESTIONS</a:t>
            </a:r>
            <a:br/>
            <a:r>
              <a:t>Who owns these levers today and how well are they coordinated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ransition to diagnostic framework.</a:t>
            </a:r>
            <a:br/>
            <a:br/>
            <a:r>
              <a:t>The goal is to structure uncertainty and capability gaps.</a:t>
            </a:r>
            <a:br/>
            <a:br/>
            <a:r>
              <a:t>CONSIDERATIONS</a:t>
            </a:r>
            <a:br/>
            <a:r>
              <a:t>Set expectation that this will be used interactively in the workshop.</a:t>
            </a:r>
            <a:br/>
            <a:br/>
            <a:r>
              <a:t>OPEN QUESTIONS</a:t>
            </a:r>
            <a:br/>
            <a:r>
              <a:t>Which stakeholders should contribute to populating the matrix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Core diagnostic framework for the workshop.</a:t>
            </a:r>
            <a:br/>
            <a:br/>
            <a:r>
              <a:t>Separates knowledge from capability.</a:t>
            </a:r>
            <a:br/>
            <a:br/>
            <a:r>
              <a:t>CONSIDERATIONS</a:t>
            </a:r>
            <a:br/>
            <a:r>
              <a:t>Ensure participants map real segments and capabilities into the matrix.</a:t>
            </a:r>
            <a:br/>
            <a:br/>
            <a:r>
              <a:t>OPEN QUESTIONS</a:t>
            </a:r>
            <a:br/>
            <a:r>
              <a:t>Which quadrants dominate the current portfolio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Focus on financial implications rather than operational detail.</a:t>
            </a:r>
            <a:br/>
            <a:br/>
            <a:r>
              <a:t>Each quadrant should be understood in terms of margin impact.</a:t>
            </a:r>
            <a:br/>
            <a:br/>
            <a:r>
              <a:t>CONSIDERATIONS</a:t>
            </a:r>
            <a:br/>
            <a:r>
              <a:t>Encourage quantification where possible.</a:t>
            </a:r>
            <a:br/>
            <a:br/>
            <a:r>
              <a:t>OPEN QUESTIONS</a:t>
            </a:r>
            <a:br/>
            <a:r>
              <a:t>Where is the largest financial exposure today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XPLAINER</a:t>
            </a:r>
            <a:br/>
            <a:r>
              <a:t>Translates diagnosis into action.</a:t>
            </a:r>
            <a:br/>
            <a:br/>
            <a:r>
              <a:t>Each quadrant requires a different response strategy.</a:t>
            </a:r>
            <a:br/>
            <a:br/>
            <a:r>
              <a:t>CONSIDERATIONS</a:t>
            </a:r>
            <a:br/>
            <a:r>
              <a:t>Avoid one-size-fits-all approaches.</a:t>
            </a:r>
            <a:br/>
            <a:br/>
            <a:r>
              <a:t>OPEN QUESTIONS</a:t>
            </a:r>
            <a:br/>
            <a:r>
              <a:t>Which actions can be executed immediately versus requiring capability build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3.jpeg"/><Relationship Id="rId4" Type="http://schemas.openxmlformats.org/officeDocument/2006/relationships/oleObject" Target="../embeddings/oleObject2.bin"/><Relationship Id="rId5" Type="http://schemas.openxmlformats.org/officeDocument/2006/relationships/image" Target="../media/image4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4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5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6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7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8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9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20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21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22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5.jpeg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23.emf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1.bin"/><Relationship Id="rId4" Type="http://schemas.openxmlformats.org/officeDocument/2006/relationships/image" Target="../media/image24.emf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2.bin"/><Relationship Id="rId4" Type="http://schemas.openxmlformats.org/officeDocument/2006/relationships/image" Target="../media/image25.emf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3.bin"/><Relationship Id="rId4" Type="http://schemas.openxmlformats.org/officeDocument/2006/relationships/image" Target="../media/image26.emf"/><Relationship Id="rId5" Type="http://schemas.openxmlformats.org/officeDocument/2006/relationships/image" Target="../media/image5.jpeg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4.bin"/><Relationship Id="rId4" Type="http://schemas.openxmlformats.org/officeDocument/2006/relationships/image" Target="../media/image27.emf"/><Relationship Id="rId5" Type="http://schemas.openxmlformats.org/officeDocument/2006/relationships/image" Target="../media/image28.sv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5.bin"/><Relationship Id="rId4" Type="http://schemas.openxmlformats.org/officeDocument/2006/relationships/image" Target="../media/image29.emf"/><Relationship Id="rId5" Type="http://schemas.openxmlformats.org/officeDocument/2006/relationships/image" Target="../media/image28.sv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21.emf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3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6.jpeg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7.bin"/><Relationship Id="rId4" Type="http://schemas.openxmlformats.org/officeDocument/2006/relationships/image" Target="../media/image31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8.bin"/><Relationship Id="rId4" Type="http://schemas.openxmlformats.org/officeDocument/2006/relationships/image" Target="../media/image32.emf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9.bin"/><Relationship Id="rId4" Type="http://schemas.openxmlformats.org/officeDocument/2006/relationships/image" Target="../media/image33.emf"/><Relationship Id="rId5" Type="http://schemas.openxmlformats.org/officeDocument/2006/relationships/image" Target="../media/image2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30.bin"/><Relationship Id="rId4" Type="http://schemas.openxmlformats.org/officeDocument/2006/relationships/image" Target="../media/image34.emf"/><Relationship Id="rId5" Type="http://schemas.openxmlformats.org/officeDocument/2006/relationships/image" Target="../media/image2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tags" Target="../tags/tag37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31.bin"/><Relationship Id="rId4" Type="http://schemas.openxmlformats.org/officeDocument/2006/relationships/image" Target="../media/image35.emf"/><Relationship Id="rId5" Type="http://schemas.openxmlformats.org/officeDocument/2006/relationships/image" Target="../media/image28.svg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32.bin"/><Relationship Id="rId4" Type="http://schemas.openxmlformats.org/officeDocument/2006/relationships/image" Target="../media/image36.emf"/><Relationship Id="rId5" Type="http://schemas.openxmlformats.org/officeDocument/2006/relationships/image" Target="../media/image28.svg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4.bin"/><Relationship Id="rId4" Type="http://schemas.openxmlformats.org/officeDocument/2006/relationships/image" Target="../media/image38.emf"/><Relationship Id="rId5" Type="http://schemas.openxmlformats.org/officeDocument/2006/relationships/image" Target="../media/image9.sv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9.svg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9.png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0.sv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7.jpg"/><Relationship Id="rId4" Type="http://schemas.openxmlformats.org/officeDocument/2006/relationships/oleObject" Target="../embeddings/oleObject5.bin"/><Relationship Id="rId5" Type="http://schemas.openxmlformats.org/officeDocument/2006/relationships/image" Target="../media/image4.emf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1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0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2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3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ck_title_pinwh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hild holding a pinwheel in the grass&#10;&#10;Description automatically generated">
            <a:extLst>
              <a:ext uri="{FF2B5EF4-FFF2-40B4-BE49-F238E27FC236}">
                <a16:creationId xmlns:a16="http://schemas.microsoft.com/office/drawing/2014/main" id="{CD09C6F4-ABEE-64A4-F463-7836C3270F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3433" y="523875"/>
            <a:ext cx="9408567" cy="6334125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903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8488929-BBEB-5CCD-B5F7-78301D3E07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6568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DB14044-B522-599C-E5A8-E85282164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2408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B14044-B522-599C-E5A8-E85282164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0" y="2769829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3"/>
            <a:ext cx="5545138" cy="42821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85661" y="2769829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8" y="1417023"/>
            <a:ext cx="5545138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5FE058-9ACB-7E7D-70AE-8D6CF789BB54}"/>
              </a:ext>
            </a:extLst>
          </p:cNvPr>
          <p:cNvCxnSpPr>
            <a:cxnSpLocks/>
          </p:cNvCxnSpPr>
          <p:nvPr/>
        </p:nvCxnSpPr>
        <p:spPr>
          <a:xfrm>
            <a:off x="447675" y="1943088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5EF3242-0268-BEDC-F8F0-0B961E9ECE6A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7CA67DB-034D-38EF-0469-D2FFCC45B4DD}"/>
              </a:ext>
            </a:extLst>
          </p:cNvPr>
          <p:cNvCxnSpPr>
            <a:cxnSpLocks/>
          </p:cNvCxnSpPr>
          <p:nvPr userDrawn="1"/>
        </p:nvCxnSpPr>
        <p:spPr>
          <a:xfrm>
            <a:off x="6349711" y="1943088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3D96A9-A0BE-7547-2543-F2FED81D46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56174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30" userDrawn="1">
          <p15:clr>
            <a:srgbClr val="5ACBF0"/>
          </p15:clr>
        </p15:guide>
        <p15:guide id="4" pos="3727">
          <p15:clr>
            <a:srgbClr val="5ACBF0"/>
          </p15:clr>
        </p15:guide>
        <p15:guide id="5" pos="3953">
          <p15:clr>
            <a:srgbClr val="5ACBF0"/>
          </p15:clr>
        </p15:guide>
        <p15:guide id="6" orient="horz" pos="1684" userDrawn="1">
          <p15:clr>
            <a:srgbClr val="5ACBF0"/>
          </p15:clr>
        </p15:guide>
        <p15:guide id="7" orient="horz" pos="1752" userDrawn="1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8B61C2-B987-DA36-373D-8E998B2FC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60659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B61C2-B987-DA36-373D-8E998B2FC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5911"/>
            <a:ext cx="3563938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3"/>
            <a:ext cx="3563937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14734" y="2045911"/>
            <a:ext cx="3599197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4461" y="1417023"/>
            <a:ext cx="3591764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AB3C6276-B682-81EC-1261-F8999951FFC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66861" y="2045911"/>
            <a:ext cx="3571311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54EAD99-06C4-AA7E-A67B-00B26F31B7E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1417023"/>
            <a:ext cx="3563936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3 Heading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7C947ACD-28A4-E9E8-BACB-6B9E7EBF40B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907313-1081-A718-B302-41435248B5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60753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  <p15:guide id="4" pos="2593">
          <p15:clr>
            <a:srgbClr val="A4A3A4"/>
          </p15:clr>
        </p15:guide>
        <p15:guide id="5" pos="5087">
          <p15:clr>
            <a:srgbClr val="A4A3A4"/>
          </p15:clr>
        </p15:guide>
        <p15:guide id="6" pos="2479">
          <p15:clr>
            <a:srgbClr val="5ACBF0"/>
          </p15:clr>
        </p15:guide>
        <p15:guide id="7" pos="2706">
          <p15:clr>
            <a:srgbClr val="5ACBF0"/>
          </p15:clr>
        </p15:guide>
        <p15:guide id="8" pos="5201">
          <p15:clr>
            <a:srgbClr val="5ACBF0"/>
          </p15:clr>
        </p15:guide>
        <p15:guide id="9" pos="4974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a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BD561D2-80A7-7B42-DD89-578745E79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2750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D561D2-80A7-7B42-DD89-578745E79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728259"/>
            <a:ext cx="357131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0"/>
            <a:ext cx="3563937" cy="42720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1953" y="2728259"/>
            <a:ext cx="3607899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95778" y="1417020"/>
            <a:ext cx="3600448" cy="4266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5FE058-9ACB-7E7D-70AE-8D6CF789BB54}"/>
              </a:ext>
            </a:extLst>
          </p:cNvPr>
          <p:cNvCxnSpPr>
            <a:cxnSpLocks/>
          </p:cNvCxnSpPr>
          <p:nvPr/>
        </p:nvCxnSpPr>
        <p:spPr>
          <a:xfrm>
            <a:off x="447675" y="1918146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82FF03-9F6C-7756-0BB6-F5FC924EC60C}"/>
              </a:ext>
            </a:extLst>
          </p:cNvPr>
          <p:cNvCxnSpPr>
            <a:cxnSpLocks/>
          </p:cNvCxnSpPr>
          <p:nvPr/>
        </p:nvCxnSpPr>
        <p:spPr>
          <a:xfrm>
            <a:off x="4371978" y="1918146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62765" y="2728259"/>
            <a:ext cx="357131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9" y="1417020"/>
            <a:ext cx="3563935" cy="4266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3 Heading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5AC8B1-18C9-C809-5EDA-9AD7FAD78EA1}"/>
              </a:ext>
            </a:extLst>
          </p:cNvPr>
          <p:cNvCxnSpPr>
            <a:cxnSpLocks/>
          </p:cNvCxnSpPr>
          <p:nvPr/>
        </p:nvCxnSpPr>
        <p:spPr>
          <a:xfrm>
            <a:off x="8347078" y="1918146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08C5B4DE-BB4F-45F0-0968-51FBDE8B23E7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07B8-CF5D-4BD3-D1DC-7CA839C6EE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959568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07" userDrawn="1">
          <p15:clr>
            <a:srgbClr val="5ACBF0"/>
          </p15:clr>
        </p15:guide>
        <p15:guide id="4" pos="4974">
          <p15:clr>
            <a:srgbClr val="5ACBF0"/>
          </p15:clr>
        </p15:guide>
        <p15:guide id="5" pos="5087">
          <p15:clr>
            <a:srgbClr val="A4A3A4"/>
          </p15:clr>
        </p15:guide>
        <p15:guide id="6" orient="horz" pos="1661" userDrawn="1">
          <p15:clr>
            <a:srgbClr val="5ACBF0"/>
          </p15:clr>
        </p15:guide>
        <p15:guide id="7" orient="horz" pos="1729" userDrawn="1">
          <p15:clr>
            <a:srgbClr val="5ACBF0"/>
          </p15:clr>
        </p15:guide>
        <p15:guide id="8" pos="2593">
          <p15:clr>
            <a:srgbClr val="A4A3A4"/>
          </p15:clr>
        </p15:guide>
        <p15:guide id="9" pos="2706">
          <p15:clr>
            <a:srgbClr val="5ACBF0"/>
          </p15:clr>
        </p15:guide>
        <p15:guide id="10" pos="2479">
          <p15:clr>
            <a:srgbClr val="5ACBF0"/>
          </p15:clr>
        </p15:guide>
        <p15:guide id="11" pos="5201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4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2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C551A70-39BD-D693-A254-FC6B2382A40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39376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45B3150-E68E-605A-C0EF-DFD6B26A29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0851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D622BCDB-F17E-AC32-A00D-1EF7899BDC4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75388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3630320-8FE2-2089-94D0-3C16C8AFF7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6863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3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44F1AE47-20F6-7A38-2454-EBEDBF65FDF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228138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3A80527-2FBF-5B0C-D890-ED3D27A533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39613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4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11106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C816D05-D913-C870-C027-1EE3D880C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0452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816D05-D913-C870-C027-1EE3D880C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45B1CD-6A1B-79C3-6555-BA580E34890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1475" y="1432361"/>
            <a:ext cx="5364163" cy="22939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FD34C2B-A178-2E58-5FBF-7A72E04825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67475" y="1432361"/>
            <a:ext cx="5352676" cy="22939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9AFBCA8-9AF8-C810-3F25-D544D60FAA34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DE4C01-34AD-9AD9-8B2E-1F160EDF3B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64892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>
          <p15:clr>
            <a:srgbClr val="5ACBF0"/>
          </p15:clr>
        </p15:guide>
        <p15:guide id="2" pos="4067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CAE96E5-CE52-981C-D0A5-BAFF72CF56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1560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AE96E5-CE52-981C-D0A5-BAFF72CF5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45B1CD-6A1B-79C3-6555-BA580E34890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1476" y="2042826"/>
            <a:ext cx="5364162" cy="376677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FD34C2B-A178-2E58-5FBF-7A72E04825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56362" y="2042826"/>
            <a:ext cx="5364311" cy="376677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059C35-0729-3301-1458-D82AC26A4E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1406509"/>
            <a:ext cx="5364163" cy="43816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902F578-F273-915B-38B3-25F6BF895F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7474" y="1406509"/>
            <a:ext cx="5364161" cy="43816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Heading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8D9C4CE-ED7C-11FE-A7F6-FDC68AAE193D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B8E64A9-8D2C-0DBD-FC32-36BD30A00F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01536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>
          <p15:clr>
            <a:srgbClr val="5ACBF0"/>
          </p15:clr>
        </p15:guide>
        <p15:guide id="2" pos="4067">
          <p15:clr>
            <a:srgbClr val="5ACBF0"/>
          </p15:clr>
        </p15:guide>
        <p15:guide id="3" orient="horz" pos="1162">
          <p15:clr>
            <a:srgbClr val="5ACBF0"/>
          </p15:clr>
        </p15:guide>
        <p15:guide id="4" orient="horz" pos="129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14B2C6E-2006-D86A-FC21-AA8D84091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129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4B2C6E-2006-D86A-FC21-AA8D84091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3196"/>
            <a:ext cx="3396024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76576" y="1433196"/>
            <a:ext cx="7343949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E467859-61BD-65C9-049F-9211088B1E29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A9B60-DD4C-8B43-D7B3-3665111ED1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42768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D89C578-FB11-8B72-331E-7EADB02617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9613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89C578-FB11-8B72-331E-7EADB0261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4229"/>
            <a:ext cx="3396024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06507"/>
            <a:ext cx="3396025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76576" y="2044229"/>
            <a:ext cx="7343949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66302" y="1406507"/>
            <a:ext cx="7343949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BD00E8E-298D-F6ED-518A-8967C527BAE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924CC-638D-7BA3-F631-D0BB41623F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7941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 Oppos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8A09521-D57A-243E-DDB6-F365213152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6942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A09521-D57A-243E-DDB6-F365213152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3204"/>
            <a:ext cx="3396024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75163" y="1433204"/>
            <a:ext cx="7345362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D1592C7-3CFB-E66A-0DE6-06CA0DE1734F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6166C-E97E-1D64-9000-D0D56B7FE1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365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A676D26-52C2-C893-3E81-0BF6A74302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7220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676D26-52C2-C893-3E81-0BF6A743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15732"/>
            <a:ext cx="7356837" cy="317465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613" y="1434056"/>
            <a:ext cx="3398461" cy="315633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DDC83B42-BB88-C395-D4F6-3DC01DE0B485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F47020-4378-2DE3-DC87-EFBF9601FF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2" name="Footer Placeholder 7">
            <a:extLst>
              <a:ext uri="{FF2B5EF4-FFF2-40B4-BE49-F238E27FC236}">
                <a16:creationId xmlns:a16="http://schemas.microsoft.com/office/drawing/2014/main" id="{7E2BBDF3-CBA9-522E-1E7D-B2B49D7CA9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758554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tree with green leaves&#10;&#10;Description automatically generated">
            <a:extLst>
              <a:ext uri="{FF2B5EF4-FFF2-40B4-BE49-F238E27FC236}">
                <a16:creationId xmlns:a16="http://schemas.microsoft.com/office/drawing/2014/main" id="{0B6ABEBC-82BC-620A-7743-C51C9DAAB9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47907" y="0"/>
            <a:ext cx="6344093" cy="6858000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2862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 dirty="0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7A45A657-FBBC-B03C-2447-FCC474CA64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</p:spTree>
    <p:extLst>
      <p:ext uri="{BB962C8B-B14F-4D97-AF65-F5344CB8AC3E}">
        <p14:creationId xmlns:p14="http://schemas.microsoft.com/office/powerpoint/2010/main" val="2616080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9AFA6BC-77B5-9D1B-B2BB-854F2B3338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47935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AFA6BC-77B5-9D1B-B2BB-854F2B3338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6102"/>
            <a:ext cx="7356837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06507"/>
            <a:ext cx="7356837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613" y="2046102"/>
            <a:ext cx="3398461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5975" y="1406507"/>
            <a:ext cx="3384549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Heading</a:t>
            </a:r>
          </a:p>
          <a:p>
            <a:pPr lvl="0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62F42E-4E87-6317-8C28-CE4DCA18D5C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E7DBE0-0BA3-491B-487F-3F11997935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0006E6F7-8870-C502-FDE8-96692D0BCBE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69818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Oppos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14BFC2-6BDA-008F-9623-44D3CC8CA8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0508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14BFC2-6BDA-008F-9623-44D3CC8CA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15734"/>
            <a:ext cx="7356837" cy="317465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975" y="1434058"/>
            <a:ext cx="3398100" cy="315633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F4D7505-BD00-2A41-2638-1301DBBC159C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53308F-14CF-5296-5EC4-562DB6784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DFFBB9-5A5D-127C-608E-F323C562855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60474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Opposite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B7EF710-4D6C-F862-832B-46C4ED688E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011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7EF710-4D6C-F862-832B-46C4ED688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4515"/>
            <a:ext cx="7356837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06510"/>
            <a:ext cx="7356838" cy="43816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975" y="2044515"/>
            <a:ext cx="3398100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5975" y="1406510"/>
            <a:ext cx="3384549" cy="43759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1EF5BA2-97CF-EE6C-0DE5-BCC70E422B3D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D42548-5732-BED0-C247-3032D665DB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4C67F003-F159-BB10-D40A-B7819D0960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368143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75" userDrawn="1">
          <p15:clr>
            <a:srgbClr val="5ACBF0"/>
          </p15:clr>
        </p15:guide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,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2" y="2045872"/>
            <a:ext cx="850777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3"/>
            <a:ext cx="8507773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44F1AE47-20F6-7A38-2454-EBEDBF65FDF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228138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3A80527-2FBF-5B0C-D890-ED3D27A533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39613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6574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,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2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C551A70-39BD-D693-A254-FC6B2382A40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39376" y="2045872"/>
            <a:ext cx="8504098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3A80527-2FBF-5B0C-D890-ED3D27A533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9376" y="1417023"/>
            <a:ext cx="8504099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81387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, 2/3 Feature Image (Apr-2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6842F9-CDAF-98AC-0940-6C0BF99DB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0606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6842F9-CDAF-98AC-0940-6C0BF99DB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tree with green leaves&#10;&#10;Description automatically generated">
            <a:extLst>
              <a:ext uri="{FF2B5EF4-FFF2-40B4-BE49-F238E27FC236}">
                <a16:creationId xmlns:a16="http://schemas.microsoft.com/office/drawing/2014/main" id="{F9BC1A40-7E1C-E392-5E2B-5D13C9441F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6344093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FB5A96-166E-F381-BC30-8448C55C713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85437" y="2946723"/>
            <a:ext cx="7335088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5B54CAC-92AC-931B-A490-45D53F536EC1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4485436" y="1416634"/>
            <a:ext cx="6263805" cy="7518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1/3, 2/3 Feature Image Blank</a:t>
            </a:r>
            <a:br>
              <a:rPr lang="en-GB" dirty="0"/>
            </a:b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17C26FBF-97EF-ACC5-7B12-A1E359336A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163" y="2340301"/>
            <a:ext cx="7367111" cy="44099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13562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366" userDrawn="1">
          <p15:clr>
            <a:srgbClr val="5ACBF0"/>
          </p15:clr>
        </p15:guide>
        <p15:guide id="3" orient="horz" pos="1502" userDrawn="1">
          <p15:clr>
            <a:srgbClr val="5ACBF0"/>
          </p15:clr>
        </p15:guide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  <p15:guide id="8" orient="horz" pos="1752" userDrawn="1">
          <p15:clr>
            <a:srgbClr val="5ACBF0"/>
          </p15:clr>
        </p15:guide>
        <p15:guide id="9" orient="horz" pos="1865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Fe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039711D-FC2A-F673-7291-9A816E3643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31748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39711D-FC2A-F673-7291-9A816E3643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264B08AF-2CBF-1510-ECC4-DB304CACD914}"/>
              </a:ext>
            </a:extLst>
          </p:cNvPr>
          <p:cNvSpPr/>
          <p:nvPr/>
        </p:nvSpPr>
        <p:spPr>
          <a:xfrm>
            <a:off x="8075613" y="279424"/>
            <a:ext cx="41163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1612"/>
            <a:ext cx="7356837" cy="317465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975" y="1434060"/>
            <a:ext cx="3398100" cy="315633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1pPr>
            <a:lvl2pPr marL="6858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2pPr>
            <a:lvl3pPr marL="11430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3pPr>
            <a:lvl4pPr marL="16002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20574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Footer Placeholder 7">
            <a:extLst>
              <a:ext uri="{FF2B5EF4-FFF2-40B4-BE49-F238E27FC236}">
                <a16:creationId xmlns:a16="http://schemas.microsoft.com/office/drawing/2014/main" id="{71BB67C4-48E6-DADD-4C10-EB1525B40C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435974" y="6173942"/>
            <a:ext cx="2318955" cy="40463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AB3F4D7-C605-B332-CDC9-564824729B0C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5B1546C-6BD4-AB8F-ADF5-5DF573B32EE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FC39E2-047E-F869-00B8-8C0D0F2B0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44546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Feature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2DFC506-6992-837E-7A6A-A5D1A922F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2956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DFC506-6992-837E-7A6A-A5D1A922F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264B08AF-2CBF-1510-ECC4-DB304CACD914}"/>
              </a:ext>
            </a:extLst>
          </p:cNvPr>
          <p:cNvSpPr/>
          <p:nvPr/>
        </p:nvSpPr>
        <p:spPr>
          <a:xfrm>
            <a:off x="8075612" y="0"/>
            <a:ext cx="41163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435974" y="6173942"/>
            <a:ext cx="2318955" cy="40463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5040"/>
            <a:ext cx="7357686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06508"/>
            <a:ext cx="7357686" cy="43816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49525" y="2045040"/>
            <a:ext cx="3384549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858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1430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6002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574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5975" y="1406508"/>
            <a:ext cx="3384549" cy="43759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4E79EA-F7EE-B49A-506F-5AFCC1E099D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6DAAB40-3DA7-BCA3-1B18-BDD99706B51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5F4F94-EC7C-0B9B-BA7B-2CA37D101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1924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8" pos="2593">
          <p15:clr>
            <a:srgbClr val="5ACBF0"/>
          </p15:clr>
        </p15:guide>
        <p15:guide id="9" pos="2706">
          <p15:clr>
            <a:srgbClr val="5ACBF0"/>
          </p15:clr>
        </p15:guide>
        <p15:guide id="10" pos="2479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_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8A09521-D57A-243E-DDB6-F365213152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6942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A09521-D57A-243E-DDB6-F365213152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3204"/>
            <a:ext cx="5378190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2x2_top_left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394749" y="1637544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D1592C7-3CFB-E66A-0DE6-06CA0DE1734F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6166C-E97E-1D64-9000-D0D56B7FE1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2x2_top_right">
            <a:extLst>
              <a:ext uri="{FF2B5EF4-FFF2-40B4-BE49-F238E27FC236}">
                <a16:creationId xmlns:a16="http://schemas.microsoft.com/office/drawing/2014/main" id="{FB9B8448-9BE6-8B3D-83B3-E1BA1AF97F4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748343" y="1637544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2x2_bottom_left">
            <a:extLst>
              <a:ext uri="{FF2B5EF4-FFF2-40B4-BE49-F238E27FC236}">
                <a16:creationId xmlns:a16="http://schemas.microsoft.com/office/drawing/2014/main" id="{41B623AC-49BB-86BB-6870-10C55A5E98D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394749" y="3851825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2x2_bottom_right">
            <a:extLst>
              <a:ext uri="{FF2B5EF4-FFF2-40B4-BE49-F238E27FC236}">
                <a16:creationId xmlns:a16="http://schemas.microsoft.com/office/drawing/2014/main" id="{6F0BF736-1FB2-2038-EF0D-BF67742F8E6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748343" y="3851825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2x2_header">
            <a:extLst>
              <a:ext uri="{FF2B5EF4-FFF2-40B4-BE49-F238E27FC236}">
                <a16:creationId xmlns:a16="http://schemas.microsoft.com/office/drawing/2014/main" id="{A564B8D5-B497-D978-839A-CF328214AA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94749" y="1293681"/>
            <a:ext cx="4436049" cy="4266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2x2 Header</a:t>
            </a:r>
          </a:p>
        </p:txBody>
      </p:sp>
      <p:sp>
        <p:nvSpPr>
          <p:cNvPr id="14" name="2x2_y-axis_title">
            <a:extLst>
              <a:ext uri="{FF2B5EF4-FFF2-40B4-BE49-F238E27FC236}">
                <a16:creationId xmlns:a16="http://schemas.microsoft.com/office/drawing/2014/main" id="{57211DB1-C740-993D-BBF4-5D629F45BB6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03218" y="2250830"/>
            <a:ext cx="355962" cy="3336053"/>
          </a:xfrm>
          <a:prstGeom prst="rect">
            <a:avLst/>
          </a:prstGeom>
        </p:spPr>
        <p:txBody>
          <a:bodyPr vert="vert270" lIns="0" tIns="0" rIns="0" bIns="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2x2 y-axis title</a:t>
            </a:r>
          </a:p>
        </p:txBody>
      </p:sp>
      <p:sp>
        <p:nvSpPr>
          <p:cNvPr id="15" name="2x2_x-axis_title">
            <a:extLst>
              <a:ext uri="{FF2B5EF4-FFF2-40B4-BE49-F238E27FC236}">
                <a16:creationId xmlns:a16="http://schemas.microsoft.com/office/drawing/2014/main" id="{90BA33F7-840D-252E-E466-5EB8E1E26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08053" y="6066106"/>
            <a:ext cx="3657599" cy="27814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2x2 x-axis title</a:t>
            </a:r>
          </a:p>
        </p:txBody>
      </p:sp>
      <p:sp>
        <p:nvSpPr>
          <p:cNvPr id="17" name="2x2_y-axis_extent_upper">
            <a:extLst>
              <a:ext uri="{FF2B5EF4-FFF2-40B4-BE49-F238E27FC236}">
                <a16:creationId xmlns:a16="http://schemas.microsoft.com/office/drawing/2014/main" id="{198B2382-455B-E20D-7888-0004757E80B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60667" y="1632269"/>
            <a:ext cx="798513" cy="228600"/>
          </a:xfrm>
          <a:prstGeom prst="rect">
            <a:avLst/>
          </a:prstGeom>
        </p:spPr>
        <p:txBody>
          <a:bodyPr/>
          <a:lstStyle>
            <a:lvl1pPr marL="9525" indent="-9525" algn="r">
              <a:buNone/>
              <a:tabLst/>
              <a:defRPr sz="900" i="1"/>
            </a:lvl1pPr>
            <a:lvl2pPr marL="9525" indent="-9525" algn="r">
              <a:buNone/>
              <a:tabLst/>
              <a:defRPr sz="900" i="1"/>
            </a:lvl2pPr>
            <a:lvl3pPr marL="9525" indent="-9525" algn="r">
              <a:buNone/>
              <a:tabLst/>
              <a:defRPr sz="900" i="1"/>
            </a:lvl3pPr>
            <a:lvl4pPr marL="9525" indent="-9525" algn="r">
              <a:buNone/>
              <a:tabLst/>
              <a:defRPr sz="900" i="1"/>
            </a:lvl4pPr>
            <a:lvl5pPr marL="9525" indent="-9525" algn="r">
              <a:buNone/>
              <a:tabLst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2x2_x-axis_extent_upper">
            <a:extLst>
              <a:ext uri="{FF2B5EF4-FFF2-40B4-BE49-F238E27FC236}">
                <a16:creationId xmlns:a16="http://schemas.microsoft.com/office/drawing/2014/main" id="{21015995-1F64-42E9-DB50-8B79931E737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1032285" y="6066106"/>
            <a:ext cx="798513" cy="228600"/>
          </a:xfrm>
          <a:prstGeom prst="rect">
            <a:avLst/>
          </a:prstGeom>
        </p:spPr>
        <p:txBody>
          <a:bodyPr/>
          <a:lstStyle>
            <a:lvl1pPr marL="9525" indent="-9525" algn="r">
              <a:buNone/>
              <a:tabLst/>
              <a:defRPr sz="900" i="1"/>
            </a:lvl1pPr>
            <a:lvl2pPr marL="9525" indent="-9525" algn="r">
              <a:buNone/>
              <a:tabLst/>
              <a:defRPr sz="900" i="1"/>
            </a:lvl2pPr>
            <a:lvl3pPr marL="9525" indent="-9525" algn="r">
              <a:buNone/>
              <a:tabLst/>
              <a:defRPr sz="900" i="1"/>
            </a:lvl3pPr>
            <a:lvl4pPr marL="9525" indent="-9525" algn="r">
              <a:buNone/>
              <a:tabLst/>
              <a:defRPr sz="900" i="1"/>
            </a:lvl4pPr>
            <a:lvl5pPr marL="9525" indent="-9525" algn="r">
              <a:buNone/>
              <a:tabLst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2x2_y-axis_extent_lower">
            <a:extLst>
              <a:ext uri="{FF2B5EF4-FFF2-40B4-BE49-F238E27FC236}">
                <a16:creationId xmlns:a16="http://schemas.microsoft.com/office/drawing/2014/main" id="{03CD0C5E-8CF5-E265-8A8B-6495D3DCE5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60666" y="5706966"/>
            <a:ext cx="798513" cy="228600"/>
          </a:xfrm>
          <a:prstGeom prst="rect">
            <a:avLst/>
          </a:prstGeom>
        </p:spPr>
        <p:txBody>
          <a:bodyPr/>
          <a:lstStyle>
            <a:lvl1pPr marL="9525" indent="-9525" algn="r">
              <a:buNone/>
              <a:tabLst/>
              <a:defRPr sz="900" i="1"/>
            </a:lvl1pPr>
            <a:lvl2pPr marL="9525" indent="-9525" algn="r">
              <a:buNone/>
              <a:tabLst/>
              <a:defRPr sz="900" i="1"/>
            </a:lvl2pPr>
            <a:lvl3pPr marL="9525" indent="-9525" algn="r">
              <a:buNone/>
              <a:tabLst/>
              <a:defRPr sz="900" i="1"/>
            </a:lvl3pPr>
            <a:lvl4pPr marL="9525" indent="-9525" algn="r">
              <a:buNone/>
              <a:tabLst/>
              <a:defRPr sz="900" i="1"/>
            </a:lvl4pPr>
            <a:lvl5pPr marL="9525" indent="-9525" algn="r">
              <a:buNone/>
              <a:tabLst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2x2_x-axis_extent_lower">
            <a:extLst>
              <a:ext uri="{FF2B5EF4-FFF2-40B4-BE49-F238E27FC236}">
                <a16:creationId xmlns:a16="http://schemas.microsoft.com/office/drawing/2014/main" id="{ED83D7F3-4375-3EF3-423F-3D35DFACA7D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82424" y="6060925"/>
            <a:ext cx="798513" cy="228600"/>
          </a:xfrm>
          <a:prstGeom prst="rect">
            <a:avLst/>
          </a:prstGeom>
        </p:spPr>
        <p:txBody>
          <a:bodyPr/>
          <a:lstStyle>
            <a:lvl1pPr marL="9525" indent="-9525" algn="l">
              <a:buNone/>
              <a:tabLst/>
              <a:defRPr sz="900" i="1"/>
            </a:lvl1pPr>
            <a:lvl2pPr marL="9525" indent="-9525" algn="l">
              <a:buNone/>
              <a:tabLst/>
              <a:defRPr sz="900" i="1"/>
            </a:lvl2pPr>
            <a:lvl3pPr marL="9525" indent="-9525" algn="l">
              <a:buNone/>
              <a:tabLst/>
              <a:defRPr sz="900" i="1"/>
            </a:lvl3pPr>
            <a:lvl4pPr marL="9525" indent="-9525" algn="l">
              <a:buNone/>
              <a:tabLst/>
              <a:defRPr sz="900" i="1"/>
            </a:lvl4pPr>
            <a:lvl5pPr marL="9525" indent="-9525" algn="l">
              <a:buNone/>
              <a:tabLst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6481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A60F5B6-49FB-7E35-862C-3DFB9A67A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0924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60F5B6-49FB-7E35-862C-3DFB9A67A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2043055"/>
            <a:ext cx="1144905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05215"/>
            <a:ext cx="11470799" cy="43946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  <a:p>
            <a:pPr lvl="0"/>
            <a:endParaRPr lang="en-GB" dirty="0"/>
          </a:p>
          <a:p>
            <a:pPr lvl="0"/>
            <a:endParaRPr lang="en-GB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A57B06D-C762-848C-56B5-A8712EED9AE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8C73839-84AA-7917-B97D-364C3286F4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7451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riding a bike on a hill&#10;&#10;Description automatically generated">
            <a:extLst>
              <a:ext uri="{FF2B5EF4-FFF2-40B4-BE49-F238E27FC236}">
                <a16:creationId xmlns:a16="http://schemas.microsoft.com/office/drawing/2014/main" id="{54953CE3-37B8-4893-3758-A61B654E3A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1679" y="2466975"/>
            <a:ext cx="6460322" cy="4391025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180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 dirty="0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5F493D8-F626-9875-4BD9-36AAD2F7C1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</p:spTree>
    <p:extLst>
      <p:ext uri="{BB962C8B-B14F-4D97-AF65-F5344CB8AC3E}">
        <p14:creationId xmlns:p14="http://schemas.microsoft.com/office/powerpoint/2010/main" val="232139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2F7142C-09BD-D82F-AF4A-6A8026FC2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3363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142C-09BD-D82F-AF4A-6A8026FC2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01070"/>
            <a:ext cx="5556613" cy="865187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/>
              <a:t>A long title or piece of introduction copy can go here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520831-454F-17EE-5725-D84A4E7262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1426008"/>
            <a:ext cx="5545136" cy="45370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 sz="1200"/>
            </a:lvl1pPr>
            <a:lvl2pPr marL="685800" indent="-228600">
              <a:buFont typeface="Wingdings" panose="05000000000000000000" pitchFamily="2" charset="2"/>
              <a:buChar char="§"/>
              <a:defRPr sz="1200"/>
            </a:lvl2pPr>
            <a:lvl3pPr marL="1143000" indent="-228600">
              <a:buFont typeface="Wingdings" panose="05000000000000000000" pitchFamily="2" charset="2"/>
              <a:buChar char="§"/>
              <a:defRPr sz="1200"/>
            </a:lvl3pPr>
            <a:lvl4pPr marL="1600200" indent="-228600">
              <a:buFont typeface="Wingdings" panose="05000000000000000000" pitchFamily="2" charset="2"/>
              <a:buChar char="§"/>
              <a:defRPr sz="1200"/>
            </a:lvl4pPr>
            <a:lvl5pPr marL="2057400" indent="-22860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826C55-B95B-2F31-BF55-BE01245758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34891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5ACBF0"/>
          </p15:clr>
        </p15:guide>
        <p15:guide id="2" pos="3953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50A613B-596A-69A4-E5C6-4E6E2CD9E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725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0A613B-596A-69A4-E5C6-4E6E2CD9E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266" y="1383476"/>
            <a:ext cx="8594459" cy="1904208"/>
          </a:xfrm>
          <a:prstGeom prst="rect">
            <a:avLst/>
          </a:prstGeo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GB"/>
              <a:t>Subtitle to introduce a chapter or section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E86B3-52C1-A353-F2E1-374F9B41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1120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70953CC-3C3E-29DB-69C3-C89B4FD00D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114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0953CC-3C3E-29DB-69C3-C89B4FD00D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01071"/>
            <a:ext cx="5556613" cy="865187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A long title or piece of introduction copy can go here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520831-454F-17EE-5725-D84A4E7262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1426009"/>
            <a:ext cx="5545136" cy="45370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EAF2AC1-0448-0D5C-D0A8-95B9E26796FA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2BC2182-16BD-252B-8F5B-8D47FF81F7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864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5ACBF0"/>
          </p15:clr>
        </p15:guide>
        <p15:guide id="2" pos="3953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ection_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FA68420-1B91-375B-3983-CF7C0057F1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049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A68420-1B91-375B-3983-CF7C0057F1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1899" y="1375164"/>
            <a:ext cx="8583826" cy="865187"/>
          </a:xfrm>
          <a:prstGeom prst="rect">
            <a:avLst/>
          </a:prstGeom>
        </p:spPr>
        <p:txBody>
          <a:bodyPr vert="horz" anchor="t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GB"/>
              <a:t>Subtitle to introduce a chapter or sectio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8339963-C9DF-D1BD-AD69-7C18A8D186C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2CAEB0D-AA26-3423-D58D-6C9F903433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7098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9F1F633-942E-AF29-83E9-5A8DE67B08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7746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F1F633-942E-AF29-83E9-5A8DE67B0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392758"/>
            <a:ext cx="5556613" cy="865187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A long title or piece of introduction copy can go here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520831-454F-17EE-5725-D84A4E7262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1417696"/>
            <a:ext cx="5545136" cy="45370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B33833D-25EE-C47A-9719-E6F30A89066D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EB3EF0-13D5-0E2C-6585-0D7CD1B0FC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34296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5ACBF0"/>
          </p15:clr>
        </p15:guide>
        <p15:guide id="2" pos="3953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2EC1F9A-E625-47B6-A122-47910C8D54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148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EC1F9A-E625-47B6-A122-47910C8D5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266" y="1375164"/>
            <a:ext cx="8576995" cy="1904208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GB"/>
              <a:t>Subtitle to introduce a chapter or section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0DFAFD0-87D8-E2C6-F134-CAACAB9C694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09607F-DFED-4562-9D62-BC122A033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26343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1BCD642-802D-5DFD-B684-FC6B15358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6901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BCD642-802D-5DFD-B684-FC6B15358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A366F5-ADD2-924A-9CC9-AAF3C60849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85661" y="2728444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5FE058-9ACB-7E7D-70AE-8D6CF789BB54}"/>
              </a:ext>
            </a:extLst>
          </p:cNvPr>
          <p:cNvCxnSpPr>
            <a:cxnSpLocks/>
          </p:cNvCxnSpPr>
          <p:nvPr/>
        </p:nvCxnSpPr>
        <p:spPr>
          <a:xfrm>
            <a:off x="447675" y="1952625"/>
            <a:ext cx="0" cy="68421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82FF03-9F6C-7756-0BB6-F5FC924EC60C}"/>
              </a:ext>
            </a:extLst>
          </p:cNvPr>
          <p:cNvCxnSpPr>
            <a:cxnSpLocks/>
          </p:cNvCxnSpPr>
          <p:nvPr/>
        </p:nvCxnSpPr>
        <p:spPr>
          <a:xfrm>
            <a:off x="6352336" y="1952507"/>
            <a:ext cx="0" cy="68433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B0C831E-C984-080E-1EF9-6A8F76A7B9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7" y="1407392"/>
            <a:ext cx="5545138" cy="47942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2900EF-E754-76F7-7158-57388E54AE66}"/>
              </a:ext>
            </a:extLst>
          </p:cNvPr>
          <p:cNvSpPr txBox="1"/>
          <p:nvPr userDrawn="1"/>
        </p:nvSpPr>
        <p:spPr>
          <a:xfrm>
            <a:off x="370510" y="2722440"/>
            <a:ext cx="5535830" cy="2400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BFY Group Ltd</a:t>
            </a:r>
            <a:endParaRPr lang="en-US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Company Number: 05068284</a:t>
            </a: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Address: BFY Headquarters, 51 Stoney St, Nottingham, NG1 1LX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Signature: 	_____________________________________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Name:	_____________________________________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Date:	_____________________________________</a:t>
            </a:r>
          </a:p>
          <a:p>
            <a:endParaRPr lang="en-GB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B5D1C4-1680-5135-0320-F2C73960EDD4}"/>
              </a:ext>
            </a:extLst>
          </p:cNvPr>
          <p:cNvSpPr txBox="1"/>
          <p:nvPr userDrawn="1"/>
        </p:nvSpPr>
        <p:spPr>
          <a:xfrm>
            <a:off x="370509" y="1407612"/>
            <a:ext cx="553582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i="0">
                <a:solidFill>
                  <a:schemeClr val="accent1"/>
                </a:solidFill>
                <a:latin typeface="+mn-lt"/>
              </a:rPr>
              <a:t>BFY Group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0C3433D-E5AD-6692-4E7A-FA976C125135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05723"/>
            <a:ext cx="9972675" cy="738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A2E098-FCCF-90E8-00A0-9A91DDBDBBF6}"/>
              </a:ext>
            </a:extLst>
          </p:cNvPr>
          <p:cNvSpPr/>
          <p:nvPr userDrawn="1"/>
        </p:nvSpPr>
        <p:spPr>
          <a:xfrm>
            <a:off x="370510" y="-8893"/>
            <a:ext cx="1103040" cy="129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D7FF313-2B62-8E9D-A495-7412B200C81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9A49F0-BD75-FE52-3EFF-35BAA9BF2D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52437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30" userDrawn="1">
          <p15:clr>
            <a:srgbClr val="5ACBF0"/>
          </p15:clr>
        </p15:guide>
        <p15:guide id="4" pos="3727">
          <p15:clr>
            <a:srgbClr val="5ACBF0"/>
          </p15:clr>
        </p15:guide>
        <p15:guide id="5" pos="3953">
          <p15:clr>
            <a:srgbClr val="5ACBF0"/>
          </p15:clr>
        </p15:guide>
        <p15:guide id="6" orient="horz" pos="1661" userDrawn="1">
          <p15:clr>
            <a:srgbClr val="5ACBF0"/>
          </p15:clr>
        </p15:guide>
        <p15:guide id="7" orient="horz" pos="1729" userDrawn="1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5388" y="1592264"/>
            <a:ext cx="5545137" cy="360362"/>
          </a:xfrm>
        </p:spPr>
        <p:txBody>
          <a:bodyPr/>
          <a:lstStyle/>
          <a:p>
            <a:r>
              <a:rPr lang="en-GB"/>
              <a:t>Thank You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9916C71-1C73-DF83-BCB9-BA80032935E9}"/>
              </a:ext>
            </a:extLst>
          </p:cNvPr>
          <p:cNvCxnSpPr>
            <a:cxnSpLocks/>
          </p:cNvCxnSpPr>
          <p:nvPr/>
        </p:nvCxnSpPr>
        <p:spPr>
          <a:xfrm>
            <a:off x="6426838" y="2097088"/>
            <a:ext cx="0" cy="71913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C6B5BC-3303-5244-78EF-DFC8F728611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2960688"/>
            <a:ext cx="5545137" cy="167225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52F0E7-5CAF-C96A-A264-7FABD0EB293C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47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5ACBF0"/>
          </p15:clr>
        </p15:guide>
        <p15:guide id="2" orient="horz" pos="1321">
          <p15:clr>
            <a:srgbClr val="5ACBF0"/>
          </p15:clr>
        </p15:guide>
        <p15:guide id="3" orient="horz" pos="1774">
          <p15:clr>
            <a:srgbClr val="5ACBF0"/>
          </p15:clr>
        </p15:guide>
        <p15:guide id="4" orient="horz" pos="1865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5388" y="1592264"/>
            <a:ext cx="5545137" cy="36036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9916C71-1C73-DF83-BCB9-BA80032935E9}"/>
              </a:ext>
            </a:extLst>
          </p:cNvPr>
          <p:cNvCxnSpPr>
            <a:cxnSpLocks/>
          </p:cNvCxnSpPr>
          <p:nvPr/>
        </p:nvCxnSpPr>
        <p:spPr>
          <a:xfrm>
            <a:off x="6426838" y="2097088"/>
            <a:ext cx="0" cy="719137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C6B5BC-3303-5244-78EF-DFC8F728611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2960688"/>
            <a:ext cx="5545137" cy="167225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286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0858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5430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002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C3188E-04B8-AFD4-A77C-E3854B2AF2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2068" y="5751362"/>
            <a:ext cx="924013" cy="73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465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5ACBF0"/>
          </p15:clr>
        </p15:guide>
        <p15:guide id="2" orient="horz" pos="1321">
          <p15:clr>
            <a:srgbClr val="5ACBF0"/>
          </p15:clr>
        </p15:guide>
        <p15:guide id="3" orient="horz" pos="1774">
          <p15:clr>
            <a:srgbClr val="5ACBF0"/>
          </p15:clr>
        </p15:guide>
        <p15:guide id="4" orient="horz" pos="1865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A3B1E9E-9EC2-6504-F213-D7EBAB7AD1EF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79243" y="2697402"/>
            <a:ext cx="1833514" cy="146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648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mbr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D09C6F4-ABEE-64A4-F463-7836C3270F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473642" y="1918253"/>
            <a:ext cx="7718358" cy="4939748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903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8488929-BBEB-5CCD-B5F7-78301D3E07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6410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A3B1E9E-9EC2-6504-F213-D7EBAB7AD1EF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79243" y="2697402"/>
            <a:ext cx="1833514" cy="146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78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1BD15C6-B0A6-8333-6DBB-CA92B9F80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0032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BD15C6-B0A6-8333-6DBB-CA92B9F80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BEF153-7643-D7D3-C31F-0A374B4C3A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79CBBC9-D362-564B-3FF3-EE578CB9B0E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2622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60002" y="2087916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-9525">
              <a:buFont typeface="Wingdings" pitchFamily="2" charset="2"/>
              <a:buNone/>
              <a:tabLst/>
              <a:defRPr sz="1100" b="1">
                <a:solidFill>
                  <a:schemeClr val="tx2"/>
                </a:solidFill>
              </a:defRPr>
            </a:lvl1pPr>
            <a:lvl2pPr marL="9525" indent="-9525">
              <a:buFont typeface="Wingdings" pitchFamily="2" charset="2"/>
              <a:buNone/>
              <a:tabLst/>
              <a:defRPr sz="1200" b="1"/>
            </a:lvl2pPr>
            <a:lvl3pPr marL="9525" indent="-9525">
              <a:buFont typeface="Wingdings" pitchFamily="2" charset="2"/>
              <a:buNone/>
              <a:tabLst/>
              <a:defRPr sz="1200" b="1"/>
            </a:lvl3pPr>
            <a:lvl4pPr marL="9525" indent="-9525">
              <a:buFont typeface="Wingdings" pitchFamily="2" charset="2"/>
              <a:buNone/>
              <a:tabLst/>
              <a:defRPr sz="1200" b="1"/>
            </a:lvl4pPr>
            <a:lvl5pPr marL="9525" indent="-9525">
              <a:buFont typeface="Wingdings" pitchFamily="2" charset="2"/>
              <a:buNone/>
              <a:tabLst/>
              <a:defRPr sz="1200" b="1"/>
            </a:lvl5pPr>
          </a:lstStyle>
          <a:p>
            <a:pPr lvl="0"/>
            <a:r>
              <a:rPr lang="en-GB" dirty="0"/>
              <a:t>Point 1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C551A70-39BD-D693-A254-FC6B2382A40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23429" y="208791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sz="1100"/>
            </a:lvl1pPr>
            <a:lvl2pPr marL="685800" indent="-228600">
              <a:spcBef>
                <a:spcPts val="400"/>
              </a:spcBef>
              <a:buFont typeface="Wingdings" pitchFamily="2" charset="2"/>
              <a:buChar char="§"/>
              <a:defRPr sz="1200"/>
            </a:lvl2pPr>
            <a:lvl3pPr marL="1143000" indent="-228600">
              <a:spcBef>
                <a:spcPts val="400"/>
              </a:spcBef>
              <a:buFont typeface="Wingdings" pitchFamily="2" charset="2"/>
              <a:buChar char="§"/>
              <a:defRPr sz="1200"/>
            </a:lvl3pPr>
            <a:lvl4pPr marL="1600200" indent="-228600">
              <a:spcBef>
                <a:spcPts val="400"/>
              </a:spcBef>
              <a:buFont typeface="Wingdings" pitchFamily="2" charset="2"/>
              <a:buChar char="§"/>
              <a:defRPr sz="1200"/>
            </a:lvl4pPr>
            <a:lvl5pPr marL="2057400" indent="-228600">
              <a:spcBef>
                <a:spcPts val="400"/>
              </a:spcBef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BEEB274-B5B7-FF8B-1B85-4EC5703189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05215"/>
            <a:ext cx="11470799" cy="43946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C0D3178-2E83-25F2-E108-6F0E2FAEC85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59999" y="3095193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0">
              <a:buFont typeface="Wingdings" pitchFamily="2" charset="2"/>
              <a:buNone/>
              <a:tabLst/>
              <a:defRPr lang="en-GB" sz="1100" b="1">
                <a:solidFill>
                  <a:schemeClr val="tx2"/>
                </a:solidFill>
              </a:defRPr>
            </a:lvl1pPr>
            <a:lvl2pPr marL="9525" indent="0">
              <a:buFont typeface="Wingdings" pitchFamily="2" charset="2"/>
              <a:buNone/>
              <a:tabLst/>
              <a:defRPr lang="en-GB" sz="1200" b="1"/>
            </a:lvl2pPr>
            <a:lvl3pPr marL="9525" indent="0">
              <a:buFont typeface="Wingdings" pitchFamily="2" charset="2"/>
              <a:buNone/>
              <a:tabLst/>
              <a:defRPr lang="en-GB" sz="1200" b="1"/>
            </a:lvl3pPr>
            <a:lvl4pPr marL="9525" indent="0">
              <a:buFont typeface="Wingdings" pitchFamily="2" charset="2"/>
              <a:buNone/>
              <a:tabLst/>
              <a:defRPr lang="en-GB" sz="1200" b="1"/>
            </a:lvl4pPr>
            <a:lvl5pPr marL="9525" indent="0">
              <a:buFont typeface="Wingdings" pitchFamily="2" charset="2"/>
              <a:buNone/>
              <a:tabLst/>
              <a:defRPr lang="en-GB" sz="1200" b="1"/>
            </a:lvl5pPr>
          </a:lstStyle>
          <a:p>
            <a:pPr marL="9525" lvl="0" indent="0">
              <a:buFont typeface="Wingdings" pitchFamily="2" charset="2"/>
              <a:buNone/>
              <a:tabLst/>
            </a:pPr>
            <a:r>
              <a:rPr lang="en-GB" dirty="0"/>
              <a:t>Point 2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76A6100-C158-2D88-1AF7-E7BEB05999D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60000" y="4088006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-9525">
              <a:buFont typeface="Wingdings" pitchFamily="2" charset="2"/>
              <a:buNone/>
              <a:tabLst/>
              <a:defRPr lang="en-GB" sz="1100" b="1">
                <a:solidFill>
                  <a:schemeClr val="tx2"/>
                </a:solidFill>
              </a:defRPr>
            </a:lvl1pPr>
            <a:lvl2pPr marL="9525" indent="-9525">
              <a:buFont typeface="Wingdings" pitchFamily="2" charset="2"/>
              <a:buNone/>
              <a:tabLst/>
              <a:defRPr lang="en-GB" sz="1200" b="1"/>
            </a:lvl2pPr>
            <a:lvl3pPr marL="9525" indent="-9525">
              <a:buFont typeface="Wingdings" pitchFamily="2" charset="2"/>
              <a:buNone/>
              <a:tabLst/>
              <a:defRPr lang="en-GB" sz="1200" b="1"/>
            </a:lvl3pPr>
            <a:lvl4pPr marL="9525" indent="-9525">
              <a:buFont typeface="Wingdings" pitchFamily="2" charset="2"/>
              <a:buNone/>
              <a:tabLst/>
              <a:defRPr lang="en-GB" sz="1200" b="1"/>
            </a:lvl4pPr>
            <a:lvl5pPr marL="9525" indent="-9525">
              <a:buFont typeface="Wingdings" pitchFamily="2" charset="2"/>
              <a:buNone/>
              <a:tabLst/>
              <a:defRPr lang="en-GB" sz="1200" b="1"/>
            </a:lvl5pPr>
          </a:lstStyle>
          <a:p>
            <a:pPr marL="9525" lvl="0" indent="0">
              <a:buFont typeface="Wingdings" pitchFamily="2" charset="2"/>
              <a:buNone/>
              <a:tabLst/>
            </a:pPr>
            <a:r>
              <a:rPr lang="en-GB" dirty="0"/>
              <a:t>Point 3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0A88851-670B-3A14-00A7-CEBF6637B81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359998" y="5061776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-9525">
              <a:buFont typeface="Wingdings" pitchFamily="2" charset="2"/>
              <a:buNone/>
              <a:tabLst/>
              <a:defRPr lang="en-GB" sz="1100" b="1">
                <a:solidFill>
                  <a:schemeClr val="tx2"/>
                </a:solidFill>
              </a:defRPr>
            </a:lvl1pPr>
            <a:lvl2pPr marL="9525" indent="-9525">
              <a:buFont typeface="Wingdings" pitchFamily="2" charset="2"/>
              <a:buNone/>
              <a:tabLst/>
              <a:defRPr lang="en-GB" sz="1200" b="1"/>
            </a:lvl2pPr>
            <a:lvl3pPr marL="9525" indent="-9525">
              <a:buFont typeface="Wingdings" pitchFamily="2" charset="2"/>
              <a:buNone/>
              <a:tabLst/>
              <a:defRPr lang="en-GB" sz="1200" b="1"/>
            </a:lvl3pPr>
            <a:lvl4pPr marL="9525" indent="-9525">
              <a:buFont typeface="Wingdings" pitchFamily="2" charset="2"/>
              <a:buNone/>
              <a:tabLst/>
              <a:defRPr lang="en-GB" sz="1200" b="1"/>
            </a:lvl4pPr>
            <a:lvl5pPr marL="9525" indent="-9525">
              <a:buFont typeface="Wingdings" pitchFamily="2" charset="2"/>
              <a:buNone/>
              <a:tabLst/>
              <a:defRPr lang="en-GB" sz="1200" b="1"/>
            </a:lvl5pPr>
          </a:lstStyle>
          <a:p>
            <a:pPr marL="9525" lvl="0" indent="0">
              <a:buFont typeface="Wingdings" pitchFamily="2" charset="2"/>
              <a:buNone/>
              <a:tabLst/>
            </a:pPr>
            <a:r>
              <a:rPr lang="en-GB" dirty="0"/>
              <a:t>Point 4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9DC339A-75FE-507E-C171-4C0F5131FF7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323429" y="309321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lang="en-GB" sz="1100"/>
            </a:lvl1pPr>
            <a:lvl2pPr marL="685800" indent="-228600">
              <a:buFont typeface="Wingdings" pitchFamily="2" charset="2"/>
              <a:buChar char="§"/>
              <a:defRPr lang="en-GB" sz="1200"/>
            </a:lvl2pPr>
            <a:lvl3pPr marL="1143000" indent="-228600">
              <a:buFont typeface="Wingdings" pitchFamily="2" charset="2"/>
              <a:buChar char="§"/>
              <a:defRPr lang="en-GB" sz="1200"/>
            </a:lvl3pPr>
            <a:lvl4pPr marL="1600200" indent="-228600">
              <a:buFont typeface="Wingdings" pitchFamily="2" charset="2"/>
              <a:buChar char="§"/>
              <a:defRPr lang="en-GB" sz="1200"/>
            </a:lvl4pPr>
            <a:lvl5pPr marL="2057400" indent="-228600">
              <a:buFont typeface="Wingdings" pitchFamily="2" charset="2"/>
              <a:buChar char="§"/>
              <a:defRPr lang="en-GB"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285DB50C-9240-4021-0F94-281E619070F5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3323429" y="408800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lang="en-GB" sz="1100"/>
            </a:lvl1pPr>
            <a:lvl2pPr marL="685800" indent="-228600">
              <a:buFont typeface="Wingdings" pitchFamily="2" charset="2"/>
              <a:buChar char="§"/>
              <a:defRPr lang="en-GB" sz="1200"/>
            </a:lvl2pPr>
            <a:lvl3pPr marL="1143000" indent="-228600">
              <a:buFont typeface="Wingdings" pitchFamily="2" charset="2"/>
              <a:buChar char="§"/>
              <a:defRPr lang="en-GB" sz="1200"/>
            </a:lvl3pPr>
            <a:lvl4pPr marL="1600200" indent="-228600">
              <a:buFont typeface="Wingdings" pitchFamily="2" charset="2"/>
              <a:buChar char="§"/>
              <a:defRPr lang="en-GB" sz="1200"/>
            </a:lvl4pPr>
            <a:lvl5pPr marL="2057400" indent="-228600">
              <a:buFont typeface="Wingdings" pitchFamily="2" charset="2"/>
              <a:buChar char="§"/>
              <a:defRPr lang="en-GB"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8DCE444-8051-485A-7227-C1E52E3B6DC5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323429" y="506177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lang="en-GB" sz="1100"/>
            </a:lvl1pPr>
            <a:lvl2pPr marL="685800" indent="-228600">
              <a:buFont typeface="Wingdings" pitchFamily="2" charset="2"/>
              <a:buChar char="§"/>
              <a:defRPr lang="en-GB" sz="1200"/>
            </a:lvl2pPr>
            <a:lvl3pPr marL="1143000" indent="-228600">
              <a:buFont typeface="Wingdings" pitchFamily="2" charset="2"/>
              <a:buChar char="§"/>
              <a:defRPr lang="en-GB" sz="1200"/>
            </a:lvl3pPr>
            <a:lvl4pPr marL="1600200" indent="-228600">
              <a:buFont typeface="Wingdings" pitchFamily="2" charset="2"/>
              <a:buChar char="§"/>
              <a:defRPr lang="en-GB" sz="1200"/>
            </a:lvl4pPr>
            <a:lvl5pPr marL="2057400" indent="-228600">
              <a:buFont typeface="Wingdings" pitchFamily="2" charset="2"/>
              <a:buChar char="§"/>
              <a:defRPr lang="en-GB"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355E53-DFA2-F45D-3B0A-18B396DDA7F8}"/>
              </a:ext>
            </a:extLst>
          </p:cNvPr>
          <p:cNvGrpSpPr/>
          <p:nvPr userDrawn="1"/>
        </p:nvGrpSpPr>
        <p:grpSpPr>
          <a:xfrm>
            <a:off x="345486" y="2018371"/>
            <a:ext cx="11482276" cy="3970365"/>
            <a:chOff x="345486" y="2018371"/>
            <a:chExt cx="11482276" cy="397036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9E2A7C5-8E84-B57A-C27B-6C257595C386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2018371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61EE6FC-1C3F-59CB-095D-874D3621BB81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3010962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5F1B619-76B8-952A-DBE2-98561B2E1425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4003553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55DA2DB-C9E2-8F00-D118-4FB20F2B0479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4996144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3382A80-A4B1-C89A-EA59-2C9FBFEF3198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5988736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0272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37BA36-2D21-F481-117E-801CE37F1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3899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7BA36-2D21-F481-117E-801CE37F1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1427514"/>
            <a:ext cx="1144905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366E839-B537-9F52-9086-857591B0AAB1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98812A0-2357-6942-510C-6B3597BA74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63289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A60F5B6-49FB-7E35-862C-3DFB9A67A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0924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60F5B6-49FB-7E35-862C-3DFB9A67A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2043055"/>
            <a:ext cx="1144905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05215"/>
            <a:ext cx="11470799" cy="43946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  <a:p>
            <a:pPr lvl="0"/>
            <a:endParaRPr lang="en-GB" dirty="0"/>
          </a:p>
          <a:p>
            <a:pPr lvl="0"/>
            <a:endParaRPr lang="en-GB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A57B06D-C762-848C-56B5-A8712EED9AE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8C73839-84AA-7917-B97D-364C3286F4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38158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BEF153-7643-D7D3-C31F-0A374B4C3A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3035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Title &amp; 2 Column Cont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0690"/>
            <a:ext cx="5545138" cy="4339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8" y="1410690"/>
            <a:ext cx="5545138" cy="4339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C82EDFC-4D1E-04CE-DF85-9536FDBD824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2042893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CF9AD83-2ABD-A72C-1A90-48755B12A43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85662" y="2042892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9695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  <p15:guide id="4" pos="3727">
          <p15:clr>
            <a:srgbClr val="5ACBF0"/>
          </p15:clr>
        </p15:guide>
        <p15:guide id="5" pos="3953">
          <p15:clr>
            <a:srgbClr val="5ACBF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svg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slideLayout" Target="../slideLayouts/slideLayout9.xml"/><Relationship Id="rId6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1.xml"/><Relationship Id="rId8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27" Type="http://schemas.openxmlformats.org/officeDocument/2006/relationships/tags" Target="../tags/tag7.xml"/><Relationship Id="rId28" Type="http://schemas.openxmlformats.org/officeDocument/2006/relationships/oleObject" Target="../embeddings/oleObject6.bin"/><Relationship Id="rId29" Type="http://schemas.openxmlformats.org/officeDocument/2006/relationships/image" Target="../media/image8.emf"/><Relationship Id="rId30" Type="http://schemas.openxmlformats.org/officeDocument/2006/relationships/image" Target="../media/image9.svg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5.xml"/><Relationship Id="rId7" Type="http://schemas.openxmlformats.org/officeDocument/2006/relationships/theme" Target="../theme/theme3.xml"/><Relationship Id="rId8" Type="http://schemas.openxmlformats.org/officeDocument/2006/relationships/tags" Target="../tags/tag32.xml"/><Relationship Id="rId9" Type="http://schemas.openxmlformats.org/officeDocument/2006/relationships/oleObject" Target="../embeddings/oleObject26.bin"/><Relationship Id="rId10" Type="http://schemas.openxmlformats.org/officeDocument/2006/relationships/image" Target="../media/image30.emf"/><Relationship Id="rId11" Type="http://schemas.openxmlformats.org/officeDocument/2006/relationships/image" Target="../media/image9.svg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theme" Target="../theme/theme4.xml"/><Relationship Id="rId7" Type="http://schemas.openxmlformats.org/officeDocument/2006/relationships/tags" Target="../tags/tag39.xml"/><Relationship Id="rId8" Type="http://schemas.openxmlformats.org/officeDocument/2006/relationships/oleObject" Target="../embeddings/oleObject33.bin"/><Relationship Id="rId9" Type="http://schemas.openxmlformats.org/officeDocument/2006/relationships/image" Target="../media/image3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46323DF-14DD-A624-5169-7A6B0CB3AF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13139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6323DF-14DD-A624-5169-7A6B0CB3AF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769FE756-EBEE-D319-4EE8-75119AEB486F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D946265-38E5-9DCB-31E5-7F58709F2E30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710" y="373855"/>
            <a:ext cx="1458592" cy="1164000"/>
          </a:xfrm>
          <a:prstGeom prst="rect">
            <a:avLst/>
          </a:prstGeom>
        </p:spPr>
      </p:pic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3C914D5E-966A-2FE8-8EE1-C3150575E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9956440" cy="11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5318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1" r:id="rId1"/>
    <p:sldLayoutId id="2147483769" r:id="rId2"/>
    <p:sldLayoutId id="2147483784" r:id="rId3"/>
    <p:sldLayoutId id="2147483786" r:id="rId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32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9" orient="horz" pos="981" userDrawn="1">
          <p15:clr>
            <a:srgbClr val="A4A3A4"/>
          </p15:clr>
        </p15:guide>
        <p15:guide id="19" orient="horz" pos="3090" userDrawn="1">
          <p15:clr>
            <a:srgbClr val="F26B43"/>
          </p15:clr>
        </p15:guide>
        <p15:guide id="20" orient="horz" pos="28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3246F7-8C78-0D69-33B5-38FA84FB9F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734425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7772400" imgH="10058400" progId="TCLayout.ActiveDocument.1">
                  <p:embed/>
                </p:oleObj>
              </mc:Choice>
              <mc:Fallback>
                <p:oleObj name="think-cell Slide" r:id="rId2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3246F7-8C78-0D69-33B5-38FA84FB9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D5DFD0-727B-D99A-A709-91C9829600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75951" y="6349428"/>
            <a:ext cx="1054848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C6A366F5-ADD2-924A-9CC9-AAF3C60849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AF5778-4443-791C-0DEB-FB51D5035A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54368" y="6349428"/>
            <a:ext cx="4500562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F33DA84-F0EF-B1A9-731F-89BA9E14F64C}"/>
              </a:ext>
            </a:extLst>
          </p:cNvPr>
          <p:cNvSpPr/>
          <p:nvPr userDrawn="1"/>
        </p:nvSpPr>
        <p:spPr>
          <a:xfrm>
            <a:off x="370510" y="-8893"/>
            <a:ext cx="1103040" cy="129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523FB4B-D5AF-2C5D-D60E-5E04D30AAAA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C5D323C0-521F-C742-295E-EBF2C93173A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DA62EF-101B-46E6-CAA5-279C98784332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</p:spTree>
    <p:extLst>
      <p:ext uri="{BB962C8B-B14F-4D97-AF65-F5344CB8AC3E}">
        <p14:creationId xmlns:p14="http://schemas.microsoft.com/office/powerpoint/2010/main" val="3124556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91" r:id="rId2"/>
    <p:sldLayoutId id="2147483719" r:id="rId3"/>
    <p:sldLayoutId id="2147483720" r:id="rId4"/>
    <p:sldLayoutId id="2147483785" r:id="rId5"/>
    <p:sldLayoutId id="2147483722" r:id="rId6"/>
    <p:sldLayoutId id="2147483723" r:id="rId7"/>
    <p:sldLayoutId id="2147483724" r:id="rId8"/>
    <p:sldLayoutId id="2147483725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7" r:id="rId19"/>
    <p:sldLayoutId id="2147483788" r:id="rId20"/>
    <p:sldLayoutId id="2147483783" r:id="rId21"/>
    <p:sldLayoutId id="2147483780" r:id="rId22"/>
    <p:sldLayoutId id="2147483781" r:id="rId23"/>
    <p:sldLayoutId id="2147483789" r:id="rId24"/>
    <p:sldLayoutId id="2147483790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32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5" orient="horz" pos="686" userDrawn="1">
          <p15:clr>
            <a:srgbClr val="000000"/>
          </p15:clr>
        </p15:guide>
        <p15:guide id="8" orient="horz" pos="595" userDrawn="1">
          <p15:clr>
            <a:srgbClr val="000000"/>
          </p15:clr>
        </p15:guide>
        <p15:guide id="9" orient="horz" pos="3861">
          <p15:clr>
            <a:srgbClr val="F26B43"/>
          </p15:clr>
        </p15:guide>
        <p15:guide id="12" orient="horz" pos="91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EB5C486-73DB-C16B-70DE-602A51496B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097158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B5C486-73DB-C16B-70DE-602A51496B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D5DFD0-727B-D99A-A709-91C9829600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75951" y="6349428"/>
            <a:ext cx="1054848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C6A366F5-ADD2-924A-9CC9-AAF3C60849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AF5778-4443-791C-0DEB-FB51D5035A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54368" y="6349428"/>
            <a:ext cx="4500562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8F0B390-91C1-26FD-DB2C-68F16A0C4A5F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2"/>
            <a:ext cx="9972675" cy="738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B664A28-CD43-AAFF-D2BC-B3CD1666676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CACF006-4C73-FE89-7046-E9C0700BF1CD}"/>
              </a:ext>
            </a:extLst>
          </p:cNvPr>
          <p:cNvSpPr/>
          <p:nvPr userDrawn="1"/>
        </p:nvSpPr>
        <p:spPr>
          <a:xfrm>
            <a:off x="370510" y="-8893"/>
            <a:ext cx="1103040" cy="129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CC7A4C-597F-BB32-9F9F-A72403B5C6CF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</p:spTree>
    <p:extLst>
      <p:ext uri="{BB962C8B-B14F-4D97-AF65-F5344CB8AC3E}">
        <p14:creationId xmlns:p14="http://schemas.microsoft.com/office/powerpoint/2010/main" val="2985862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32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5" orient="horz" pos="777">
          <p15:clr>
            <a:srgbClr val="000000"/>
          </p15:clr>
        </p15:guide>
        <p15:guide id="8" orient="horz" pos="709">
          <p15:clr>
            <a:srgbClr val="000000"/>
          </p15:clr>
        </p15:guide>
        <p15:guide id="9" orient="horz" pos="3861">
          <p15:clr>
            <a:srgbClr val="F26B43"/>
          </p15:clr>
        </p15:guide>
        <p15:guide id="12" orient="horz" pos="913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F37E50E-E589-542B-CA21-13468A4AB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494828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37E50E-E589-542B-CA21-13468A4AB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61BE16-BB64-CDFC-A36B-2DAB016BD73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6275388" y="1592263"/>
            <a:ext cx="5545137" cy="8651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Thank You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FC3BA9-9FB8-3A92-134B-563013D6F04B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</p:spTree>
    <p:extLst>
      <p:ext uri="{BB962C8B-B14F-4D97-AF65-F5344CB8AC3E}">
        <p14:creationId xmlns:p14="http://schemas.microsoft.com/office/powerpoint/2010/main" val="2274119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697" r:id="rId2"/>
    <p:sldLayoutId id="2147483698" r:id="rId3"/>
    <p:sldLayoutId id="2147483699" r:id="rId4"/>
    <p:sldLayoutId id="2147483756" r:id="rId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10" userDrawn="1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5" orient="horz" pos="777">
          <p15:clr>
            <a:srgbClr val="000000"/>
          </p15:clr>
        </p15:guide>
        <p15:guide id="6" pos="3840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709">
          <p15:clr>
            <a:srgbClr val="000000"/>
          </p15:clr>
        </p15:guide>
        <p15:guide id="9" orient="horz" pos="3861">
          <p15:clr>
            <a:srgbClr val="F26B43"/>
          </p15:clr>
        </p15:guide>
        <p15:guide id="12" orient="horz" pos="1003">
          <p15:clr>
            <a:srgbClr val="F26B43"/>
          </p15:clr>
        </p15:guide>
        <p15:guide id="13" pos="3953">
          <p15:clr>
            <a:srgbClr val="F26B43"/>
          </p15:clr>
        </p15:guide>
        <p15:guide id="14" pos="3727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0.xml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3.xml"/><Relationship Id="rId2" Type="http://schemas.openxmlformats.org/officeDocument/2006/relationships/notesSlide" Target="../notesSlides/notesSlide11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2.xml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3.xml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4.xml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5.xml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6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4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3.xml"/><Relationship Id="rId2" Type="http://schemas.openxmlformats.org/officeDocument/2006/relationships/notesSlide" Target="../notesSlides/notesSlide6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notesSlide" Target="../notesSlides/notesSlide7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notesSlide" Target="../notesSlides/notesSlide8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9" name="Title 8">
            <a:extLst>
              <a:ext uri="{FF2B5EF4-FFF2-40B4-BE49-F238E27FC236}">
                <a16:creationId xmlns:a16="http://schemas.microsoft.com/office/drawing/2014/main" id="{F14FB5E2-A231-805D-6EDB-2EB1E0C23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arket-wide Half Hourly Settlemen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7D39C7-2E26-4349-B4FE-567A4BCCC2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Commercial implications, strategic choices, and competitive dynamic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8C25EA-C336-669C-E222-749D2A1E6C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t>PREPARED FOR: ENERGY SUPPLIER COMMERCIAL LEADERSHIP TEAM</a:t>
            </a:r>
          </a:p>
          <a:p>
            <a:r>
              <a:t>08 APRIL 202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Most suppliers already hold the data but don't operationalise it</a:t>
            </a:r>
          </a:p>
          <a:p>
            <a:pPr/>
            <a:r>
              <a:t>Significant interval data and insight already exists but isn't used in pricing or trading decisions</a:t>
            </a:r>
          </a:p>
          <a:p>
            <a:pPr/>
            <a:r>
              <a:t>Organisational silos prevent end-to-end visibility of customer value</a:t>
            </a:r>
          </a:p>
          <a:p>
            <a:pPr/>
            <a:r>
              <a:t>Fixing internal integration can unlock margin before external changes are mad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e highest value opportunity is unlocking unknown knowns already within the busines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0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trategic response and competitive dynamic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723DA2-2A8E-BAE3-653C-E7D818989E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6344247"/>
            <a:ext cx="5903913" cy="184544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73283D-A7A4-FE4A-029C-A91B1ABCC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1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36B345-570D-13EC-5E37-DFF5D874EA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cting alone creates short-term disadvantage but builds long-term advant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pPr/>
            <a:r>
              <a:t>Acting earl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8" sz="quarter"/>
          </p:nvPr>
        </p:nvSpPr>
        <p:spPr/>
        <p:txBody>
          <a:bodyPr/>
          <a:lstStyle/>
          <a:p>
            <a:pPr/>
            <a:r>
              <a:t>Acting lat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Prices reflect true cost</a:t>
            </a:r>
          </a:p>
          <a:p>
            <a:pPr/>
            <a:r>
              <a:t>High-cost segments appear uncompetitive</a:t>
            </a:r>
          </a:p>
          <a:p>
            <a:pPr/>
            <a:r>
              <a:t>Risk of volume los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>
            <a:pPr/>
            <a:r>
              <a:t>Retain volume through cost smearing</a:t>
            </a:r>
          </a:p>
          <a:p>
            <a:pPr/>
            <a:r>
              <a:t>Delay capability build</a:t>
            </a:r>
          </a:p>
          <a:p>
            <a:pPr/>
            <a:r>
              <a:t>Risk structural disadvantage later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17F1458-5704-668B-BA29-9DDFD00C42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6344247"/>
            <a:ext cx="5903913" cy="184544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2F6854-B763-1152-FEE4-D2F812C1D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8F9B85-1F40-2C1E-6F0A-9D02DA8EFC2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e market can remain inefficient for longer than expected</a:t>
            </a:r>
          </a:p>
          <a:p>
            <a:pPr/>
            <a:r>
              <a:t>Cross-subsidy continues and distorts pricing signals</a:t>
            </a:r>
          </a:p>
          <a:p>
            <a:pPr/>
            <a:r>
              <a:t>Suppliers avoid short-term disadvantage but fail to improve economics</a:t>
            </a:r>
          </a:p>
          <a:p>
            <a:pPr/>
            <a:r>
              <a:t>Industry profitability remains suppressed despite better data availabilit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If all suppliers delay, margin leakage persists across the marke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3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e end state rewards execution, not positioning</a:t>
            </a:r>
          </a:p>
          <a:p>
            <a:pPr/>
            <a:r>
              <a:t>Pricing converges towards true cost-to-serve</a:t>
            </a:r>
          </a:p>
          <a:p>
            <a:pPr/>
            <a:r>
              <a:t>Load shape becomes primary competitive battleground</a:t>
            </a:r>
          </a:p>
          <a:p>
            <a:pPr/>
            <a:r>
              <a:t>Winning suppliers combine data, pricing, trading and customer engagement</a:t>
            </a:r>
          </a:p>
          <a:p>
            <a:pPr/>
            <a:r>
              <a:t>Laggards face sustained margin press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When the market resets, advantage shifts decisively to operational capabil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trategic choices must balance timing, risk and capability buil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pPr/>
            <a:r>
              <a:t>Lead strateg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8" sz="quarter"/>
          </p:nvPr>
        </p:nvSpPr>
        <p:spPr/>
        <p:txBody>
          <a:bodyPr/>
          <a:lstStyle/>
          <a:p>
            <a:pPr/>
            <a:r>
              <a:t>Follow strateg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Invest early in capability</a:t>
            </a:r>
          </a:p>
          <a:p>
            <a:pPr/>
            <a:r>
              <a:t>Accept short-term commercial pressure</a:t>
            </a:r>
          </a:p>
          <a:p>
            <a:pPr/>
            <a:r>
              <a:t>Target high-value segment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>
            <a:pPr/>
            <a:r>
              <a:t>Delay pricing changes</a:t>
            </a:r>
          </a:p>
          <a:p>
            <a:pPr/>
            <a:r>
              <a:t>Focus on internal readiness</a:t>
            </a:r>
          </a:p>
          <a:p>
            <a:pPr/>
            <a:r>
              <a:t>Prepare for rapid transition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17F1458-5704-668B-BA29-9DDFD00C42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6344247"/>
            <a:ext cx="5903913" cy="184544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2F6854-B763-1152-FEE4-D2F812C1D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5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8F9B85-1F40-2C1E-6F0A-9D02DA8EFC2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Fragmented organisations will not capture the benefit</a:t>
            </a:r>
          </a:p>
          <a:p>
            <a:pPr/>
            <a:r>
              <a:t>Need for HH-level portfolio visibility and P&amp;L</a:t>
            </a:r>
          </a:p>
          <a:p>
            <a:pPr/>
            <a:r>
              <a:t>Integration of pricing, trading, settlement and customer functions</a:t>
            </a:r>
          </a:p>
          <a:p>
            <a:pPr/>
            <a:r>
              <a:t>Establishment of a commercial control tower capability</a:t>
            </a:r>
          </a:p>
          <a:p>
            <a:pPr/>
            <a:r>
              <a:t>Continuous feedback loops between data, decision-making and execu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Delivering MHHS value requires an integrated commercial operating mod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6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MHHS reveals true cost-to-serve and removes portfolio cross-subsid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7" sz="quarter"/>
          </p:nvPr>
        </p:nvSpPr>
        <p:spPr/>
        <p:txBody>
          <a:bodyPr/>
          <a:lstStyle/>
          <a:p>
            <a:pPr/>
            <a:r>
              <a:t>Costs move from averaged allocation to customer-level attribution based on actual consumption timing</a:t>
            </a:r>
          </a:p>
          <a:p>
            <a:pPr/>
            <a:r>
              <a:t>Margin is no longer driven by volume alone, but by load shape and peak expos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MHHS fundamentally changes how suppliers make and lose mone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pPr/>
            <a:r>
              <a:t>Margin shifts from volume to shape, and from averaging to precision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22" sz="quarter"/>
          </p:nvPr>
        </p:nvSpPr>
        <p:spPr/>
        <p:txBody>
          <a:bodyPr/>
          <a:lstStyle/>
          <a:p>
            <a:pPr/>
            <a:r>
              <a:t>The primary risk is commercial unpreparedness, not settlement reform itself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23" sz="quarter"/>
          </p:nvPr>
        </p:nvSpPr>
        <p:spPr/>
        <p:txBody>
          <a:bodyPr/>
          <a:lstStyle/>
          <a:p>
            <a:pPr/>
            <a:r>
              <a:t>Profitability will be determined by pricing sophistication, hedging alignment and customer shaping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24" sz="quarter"/>
          </p:nvPr>
        </p:nvSpPr>
        <p:spPr/>
        <p:txBody>
          <a:bodyPr/>
          <a:lstStyle/>
          <a:p>
            <a:pPr/>
            <a:r>
              <a:t>Competitive dynamics create a first-mover disadvantage but a long-term capability advantag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25" sz="quarter"/>
          </p:nvPr>
        </p:nvSpPr>
        <p:spPr/>
        <p:txBody>
          <a:bodyPr/>
          <a:lstStyle/>
          <a:p>
            <a:pPr/>
            <a:r>
              <a:t>Existing inefficiencies in pricing, forecasting and data integration will be exposed and amplified</a:t>
            </a:r>
          </a:p>
          <a:p>
            <a:pPr/>
            <a:r>
              <a:t>Suppliers without HH-level visibility risk systematic mispricing and margin leakag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idx="26" sz="quarter"/>
          </p:nvPr>
        </p:nvSpPr>
        <p:spPr/>
        <p:txBody>
          <a:bodyPr/>
          <a:lstStyle/>
          <a:p>
            <a:pPr/>
            <a:r>
              <a:t>Winners will price to cost, align hedging to demand shape, and actively influence customer behaviour</a:t>
            </a:r>
          </a:p>
          <a:p>
            <a:pPr/>
            <a:r>
              <a:t>Flexibility, engagement and segmentation become core commercial capabilities, not optional enhancement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idx="27" sz="quarter"/>
          </p:nvPr>
        </p:nvSpPr>
        <p:spPr/>
        <p:txBody>
          <a:bodyPr/>
          <a:lstStyle/>
          <a:p>
            <a:pPr/>
            <a:r>
              <a:t>Early movers risk short-term volume loss if competitors continue to smear costs</a:t>
            </a:r>
          </a:p>
          <a:p>
            <a:pPr/>
            <a:r>
              <a:t>Over time, market pricing converges and advantage shifts to suppliers with superior data and execution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0BF8AD8-AFEC-9487-5D97-3349788732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DB0408-672A-1464-AA5C-860CBB334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CC0C56-88B8-3B68-626E-DAA0842FADC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B77FF70-287D-0796-6DB0-5DB6F5681EDA}"/>
              </a:ext>
            </a:extLst>
          </p:cNvPr>
          <p:cNvCxnSpPr>
            <a:cxnSpLocks/>
          </p:cNvCxnSpPr>
          <p:nvPr/>
        </p:nvCxnSpPr>
        <p:spPr>
          <a:xfrm>
            <a:off x="345486" y="2018371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7B403E5-399D-BE1F-432B-FA5E5FBB0074}"/>
              </a:ext>
            </a:extLst>
          </p:cNvPr>
          <p:cNvCxnSpPr>
            <a:cxnSpLocks/>
          </p:cNvCxnSpPr>
          <p:nvPr/>
        </p:nvCxnSpPr>
        <p:spPr>
          <a:xfrm>
            <a:off x="345486" y="3010962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7ACFBE6-266E-D27C-D884-6957F9D9F337}"/>
              </a:ext>
            </a:extLst>
          </p:cNvPr>
          <p:cNvCxnSpPr>
            <a:cxnSpLocks/>
          </p:cNvCxnSpPr>
          <p:nvPr/>
        </p:nvCxnSpPr>
        <p:spPr>
          <a:xfrm>
            <a:off x="345486" y="4003553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33A5107-9F3B-8BEB-9429-DA238929B2BB}"/>
              </a:ext>
            </a:extLst>
          </p:cNvPr>
          <p:cNvCxnSpPr>
            <a:cxnSpLocks/>
          </p:cNvCxnSpPr>
          <p:nvPr/>
        </p:nvCxnSpPr>
        <p:spPr>
          <a:xfrm>
            <a:off x="345486" y="4996144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E083ACB-4598-C597-FE73-139F61A9C38E}"/>
              </a:ext>
            </a:extLst>
          </p:cNvPr>
          <p:cNvCxnSpPr>
            <a:cxnSpLocks/>
          </p:cNvCxnSpPr>
          <p:nvPr/>
        </p:nvCxnSpPr>
        <p:spPr>
          <a:xfrm>
            <a:off x="345486" y="5988736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e core commercial unit is no longer kWh, it is when and how energy is used</a:t>
            </a:r>
          </a:p>
          <a:p>
            <a:pPr/>
            <a:r>
              <a:t>Pre-MHHS model relies on portfolio averaging with cross-subsidy between customers</a:t>
            </a:r>
          </a:p>
          <a:p>
            <a:pPr/>
            <a:r>
              <a:t>Post-MHHS costs are attributed to actual half-hourly consumption patterns</a:t>
            </a:r>
          </a:p>
          <a:p>
            <a:pPr/>
            <a:r>
              <a:t>Peak usage drives disproportionate cost, making timing a primary driver of margin</a:t>
            </a:r>
          </a:p>
          <a:p>
            <a:pPr/>
            <a:r>
              <a:t>Load shape becomes the key differentiator of customer value</a:t>
            </a:r>
          </a:p>
          <a:p>
            <a:pPr/>
            <a:r>
              <a:t>Commercial models must evolve from volume-led to behaviour-led economic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MHHS shifts margin from energy volume to timing and load shap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3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MHHS exposes existing inefficiencies rather than creating new o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pPr/>
            <a:r>
              <a:t>Current st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8" sz="quarter"/>
          </p:nvPr>
        </p:nvSpPr>
        <p:spPr/>
        <p:txBody>
          <a:bodyPr/>
          <a:lstStyle/>
          <a:p>
            <a:pPr/>
            <a:r>
              <a:t>Under MHH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Data exists but isn't operationalised across pricing, trading and settlement</a:t>
            </a:r>
          </a:p>
          <a:p>
            <a:pPr/>
            <a:r>
              <a:t>Forecasting and hedging often aligned to volume rather than shape</a:t>
            </a:r>
          </a:p>
          <a:p>
            <a:pPr/>
            <a:r>
              <a:t>Pricing decisions weakly linked to real cost driver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>
            <a:pPr/>
            <a:r>
              <a:t>Inefficiencies become visible at customer level</a:t>
            </a:r>
          </a:p>
          <a:p>
            <a:pPr/>
            <a:r>
              <a:t>Misalignment leads directly to margin leakage</a:t>
            </a:r>
          </a:p>
          <a:p>
            <a:pPr/>
            <a:r>
              <a:t>Competitors with stronger integration capture value quickly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17F1458-5704-668B-BA29-9DDFD00C42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6344247"/>
            <a:ext cx="5903913" cy="184544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2F6854-B763-1152-FEE4-D2F812C1D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8F9B85-1F40-2C1E-6F0A-9D02DA8EFC2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ree levers determine performance in the MHHS world</a:t>
            </a:r>
          </a:p>
          <a:p>
            <a:pPr/>
            <a:r>
              <a:t>Pricing: cost-reflective tariffs based on load shape and peak exposure</a:t>
            </a:r>
          </a:p>
          <a:p>
            <a:pPr/>
            <a:r>
              <a:t>Hedging: alignment to demand curves rather than aggregate volumes</a:t>
            </a:r>
          </a:p>
          <a:p>
            <a:pPr/>
            <a:r>
              <a:t>Customer shaping: influencing behaviour through tariffs, automation and incentives</a:t>
            </a:r>
          </a:p>
          <a:p>
            <a:pPr/>
            <a:r>
              <a:t>These levers must operate in an integrated system rather than independentl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Profitability shifts to a combination of precision pricing, hedging and customer shap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5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Diagnosing exposure using the MHHS Rumsfeld matri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723DA2-2A8E-BAE3-653C-E7D818989E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6344247"/>
            <a:ext cx="5903913" cy="184544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73283D-A7A4-FE4A-029C-A91B1ABCC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6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36B345-570D-13EC-5E37-DFF5D874EA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e key question is not just what we know, but what we can do about it</a:t>
            </a:r>
          </a:p>
          <a:p>
            <a:pPr/>
            <a:r>
              <a:t>The matrix separates knowledge of load shape from ability to act commercially</a:t>
            </a:r>
          </a:p>
          <a:p>
            <a:pPr/>
            <a:r>
              <a:t>It highlights where risk sits and where capability gaps exist</a:t>
            </a:r>
          </a:p>
          <a:p>
            <a:pPr/>
            <a:r>
              <a:t>It provides a structured way to prioritise a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7" sz="quarter"/>
          </p:nvPr>
        </p:nvSpPr>
        <p:spPr/>
        <p:txBody>
          <a:bodyPr/>
          <a:lstStyle/>
          <a:p>
            <a:pPr/>
            <a:r>
              <a:t>Known unknowns</a:t>
            </a:r>
          </a:p>
          <a:p>
            <a:pPr/>
            <a:r>
              <a:t>We know this matters but lack control or visibilit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upplier exposure can be structured across knowledge and ability to ac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8" sz="quarter"/>
          </p:nvPr>
        </p:nvSpPr>
        <p:spPr/>
        <p:txBody>
          <a:bodyPr/>
          <a:lstStyle/>
          <a:p>
            <a:pPr/>
            <a:r>
              <a:t>Known knowns</a:t>
            </a:r>
          </a:p>
          <a:p>
            <a:pPr/>
            <a:r>
              <a:t>We understand and can act commercially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>
            <a:pPr/>
            <a:r>
              <a:t>Unknown unknowns</a:t>
            </a:r>
          </a:p>
          <a:p>
            <a:pPr/>
            <a:r>
              <a:t>We don't know what we don't know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20" sz="quarter"/>
          </p:nvPr>
        </p:nvSpPr>
        <p:spPr/>
        <p:txBody>
          <a:bodyPr/>
          <a:lstStyle/>
          <a:p>
            <a:pPr/>
            <a:r>
              <a:t>Unknown knowns</a:t>
            </a:r>
          </a:p>
          <a:p>
            <a:pPr/>
            <a:r>
              <a:t>We have data but are not using it effectively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21" sz="quarter"/>
          </p:nvPr>
        </p:nvSpPr>
        <p:spPr/>
        <p:txBody>
          <a:bodyPr/>
          <a:lstStyle/>
          <a:p>
            <a:pPr/>
            <a:r>
              <a:t>MHHS Rumsfeld Matrix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22" sz="quarter"/>
          </p:nvPr>
        </p:nvSpPr>
        <p:spPr/>
        <p:txBody>
          <a:bodyPr/>
          <a:lstStyle/>
          <a:p>
            <a:pPr/>
            <a:r>
              <a:t>Ability to act commercially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23" sz="quarter"/>
          </p:nvPr>
        </p:nvSpPr>
        <p:spPr/>
        <p:txBody>
          <a:bodyPr/>
          <a:lstStyle/>
          <a:p>
            <a:pPr/>
            <a:r>
              <a:t>Knowledge of load shape and cost driver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idx="24" sz="quarter"/>
          </p:nvPr>
        </p:nvSpPr>
        <p:spPr/>
        <p:txBody>
          <a:bodyPr/>
          <a:lstStyle/>
          <a:p>
            <a:pPr/>
            <a:r>
              <a:t>High ability to ac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25" sz="quarter"/>
          </p:nvPr>
        </p:nvSpPr>
        <p:spPr/>
        <p:txBody>
          <a:bodyPr/>
          <a:lstStyle/>
          <a:p>
            <a:pPr/>
            <a:r>
              <a:t>High knowledg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idx="26" sz="quarter"/>
          </p:nvPr>
        </p:nvSpPr>
        <p:spPr/>
        <p:txBody>
          <a:bodyPr/>
          <a:lstStyle/>
          <a:p>
            <a:pPr/>
            <a:r>
              <a:t>Low ability to ac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idx="27" sz="quarter"/>
          </p:nvPr>
        </p:nvSpPr>
        <p:spPr/>
        <p:txBody>
          <a:bodyPr/>
          <a:lstStyle/>
          <a:p>
            <a:pPr/>
            <a:r>
              <a:t>Low knowledg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0308274-59C5-186E-D21E-6C55CA0568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A202C9-6A63-7C0C-70A6-8AD09E79E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7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8536C1-9B94-D795-D9A9-305DB107742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D98BEF3-E4A9-F9A6-BA8B-64BB65124536}"/>
              </a:ext>
            </a:extLst>
          </p:cNvPr>
          <p:cNvCxnSpPr>
            <a:cxnSpLocks/>
          </p:cNvCxnSpPr>
          <p:nvPr/>
        </p:nvCxnSpPr>
        <p:spPr>
          <a:xfrm>
            <a:off x="7394749" y="1534510"/>
            <a:ext cx="44399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389F987-D0DB-576A-0060-6A828A353CA2}"/>
              </a:ext>
            </a:extLst>
          </p:cNvPr>
          <p:cNvCxnSpPr/>
          <p:nvPr/>
        </p:nvCxnSpPr>
        <p:spPr>
          <a:xfrm flipV="1">
            <a:off x="7322239" y="1637544"/>
            <a:ext cx="0" cy="429802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828AEA1-5EF0-EC8B-8719-075A40BE3C8D}"/>
              </a:ext>
            </a:extLst>
          </p:cNvPr>
          <p:cNvCxnSpPr>
            <a:cxnSpLocks/>
          </p:cNvCxnSpPr>
          <p:nvPr/>
        </p:nvCxnSpPr>
        <p:spPr>
          <a:xfrm>
            <a:off x="7322239" y="5927887"/>
            <a:ext cx="4529581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1034D5-1C33-AA39-A584-80135F679A6A}"/>
              </a:ext>
            </a:extLst>
          </p:cNvPr>
          <p:cNvCxnSpPr>
            <a:cxnSpLocks/>
          </p:cNvCxnSpPr>
          <p:nvPr/>
        </p:nvCxnSpPr>
        <p:spPr>
          <a:xfrm>
            <a:off x="7332749" y="3782715"/>
            <a:ext cx="4439900" cy="0"/>
          </a:xfrm>
          <a:prstGeom prst="line">
            <a:avLst/>
          </a:prstGeom>
          <a:ln w="1270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0168B23-34EE-9359-7790-929F7149CEDA}"/>
              </a:ext>
            </a:extLst>
          </p:cNvPr>
          <p:cNvCxnSpPr>
            <a:cxnSpLocks/>
          </p:cNvCxnSpPr>
          <p:nvPr/>
        </p:nvCxnSpPr>
        <p:spPr>
          <a:xfrm flipV="1">
            <a:off x="9576519" y="1637544"/>
            <a:ext cx="0" cy="4290343"/>
          </a:xfrm>
          <a:prstGeom prst="line">
            <a:avLst/>
          </a:prstGeom>
          <a:ln w="1270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Not all uncertainty is equal in commercial impact</a:t>
            </a:r>
          </a:p>
          <a:p>
            <a:pPr/>
            <a:r>
              <a:t>Each quadrant represents a different type of risk and opportunity</a:t>
            </a:r>
          </a:p>
          <a:p>
            <a:pPr/>
            <a:r>
              <a:t>Understanding these differences is critical to prioritising action</a:t>
            </a:r>
          </a:p>
          <a:p>
            <a:pPr/>
            <a:r>
              <a:t>Commercial exposure varies materially across quadra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7" sz="quarter"/>
          </p:nvPr>
        </p:nvSpPr>
        <p:spPr/>
        <p:txBody>
          <a:bodyPr/>
          <a:lstStyle/>
          <a:p>
            <a:pPr/>
            <a:r>
              <a:t>Volatility risk and forecasting error</a:t>
            </a:r>
          </a:p>
          <a:p>
            <a:pPr/>
            <a:r>
              <a:t>Need for pricing buffers and risk premium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ach quadrant carries distinct cost exposure and margin implica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8" sz="quarter"/>
          </p:nvPr>
        </p:nvSpPr>
        <p:spPr/>
        <p:txBody>
          <a:bodyPr/>
          <a:lstStyle/>
          <a:p>
            <a:pPr/>
            <a:r>
              <a:t>Margin precision and reduced leakage</a:t>
            </a:r>
          </a:p>
          <a:p>
            <a:pPr/>
            <a:r>
              <a:t>Opportunity to price to cost and defend margin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>
            <a:pPr/>
            <a:r>
              <a:t>Structural mispricing risk</a:t>
            </a:r>
          </a:p>
          <a:p>
            <a:pPr/>
            <a:r>
              <a:t>Exposure to unknown behavioural and market shift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20" sz="quarter"/>
          </p:nvPr>
        </p:nvSpPr>
        <p:spPr/>
        <p:txBody>
          <a:bodyPr/>
          <a:lstStyle/>
          <a:p>
            <a:pPr/>
            <a:r>
              <a:t>Hidden margin leakage</a:t>
            </a:r>
          </a:p>
          <a:p>
            <a:pPr/>
            <a:r>
              <a:t>Underutilised data leading to missed valu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21" sz="quarter"/>
          </p:nvPr>
        </p:nvSpPr>
        <p:spPr/>
        <p:txBody>
          <a:bodyPr/>
          <a:lstStyle/>
          <a:p>
            <a:pPr/>
            <a:r>
              <a:t>Cost and Profitability Implication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22" sz="quarter"/>
          </p:nvPr>
        </p:nvSpPr>
        <p:spPr/>
        <p:txBody>
          <a:bodyPr/>
          <a:lstStyle/>
          <a:p>
            <a:pPr/>
            <a:r>
              <a:t>Ability to act commercially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23" sz="quarter"/>
          </p:nvPr>
        </p:nvSpPr>
        <p:spPr/>
        <p:txBody>
          <a:bodyPr/>
          <a:lstStyle/>
          <a:p>
            <a:pPr/>
            <a:r>
              <a:t>Knowledge of load shape and cost driver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idx="24" sz="quarter"/>
          </p:nvPr>
        </p:nvSpPr>
        <p:spPr/>
        <p:txBody>
          <a:bodyPr/>
          <a:lstStyle/>
          <a:p>
            <a:pPr/>
            <a:r>
              <a:t>High ability to ac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25" sz="quarter"/>
          </p:nvPr>
        </p:nvSpPr>
        <p:spPr/>
        <p:txBody>
          <a:bodyPr/>
          <a:lstStyle/>
          <a:p>
            <a:pPr/>
            <a:r>
              <a:t>High knowledg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idx="26" sz="quarter"/>
          </p:nvPr>
        </p:nvSpPr>
        <p:spPr/>
        <p:txBody>
          <a:bodyPr/>
          <a:lstStyle/>
          <a:p>
            <a:pPr/>
            <a:r>
              <a:t>Low ability to ac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idx="27" sz="quarter"/>
          </p:nvPr>
        </p:nvSpPr>
        <p:spPr/>
        <p:txBody>
          <a:bodyPr/>
          <a:lstStyle/>
          <a:p>
            <a:pPr/>
            <a:r>
              <a:t>Low knowledg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0308274-59C5-186E-D21E-6C55CA0568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A202C9-6A63-7C0C-70A6-8AD09E79E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8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8536C1-9B94-D795-D9A9-305DB107742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D98BEF3-E4A9-F9A6-BA8B-64BB65124536}"/>
              </a:ext>
            </a:extLst>
          </p:cNvPr>
          <p:cNvCxnSpPr>
            <a:cxnSpLocks/>
          </p:cNvCxnSpPr>
          <p:nvPr/>
        </p:nvCxnSpPr>
        <p:spPr>
          <a:xfrm>
            <a:off x="7394749" y="1534510"/>
            <a:ext cx="44399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389F987-D0DB-576A-0060-6A828A353CA2}"/>
              </a:ext>
            </a:extLst>
          </p:cNvPr>
          <p:cNvCxnSpPr/>
          <p:nvPr/>
        </p:nvCxnSpPr>
        <p:spPr>
          <a:xfrm flipV="1">
            <a:off x="7322239" y="1637544"/>
            <a:ext cx="0" cy="429802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828AEA1-5EF0-EC8B-8719-075A40BE3C8D}"/>
              </a:ext>
            </a:extLst>
          </p:cNvPr>
          <p:cNvCxnSpPr>
            <a:cxnSpLocks/>
          </p:cNvCxnSpPr>
          <p:nvPr/>
        </p:nvCxnSpPr>
        <p:spPr>
          <a:xfrm>
            <a:off x="7322239" y="5927887"/>
            <a:ext cx="4529581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1034D5-1C33-AA39-A584-80135F679A6A}"/>
              </a:ext>
            </a:extLst>
          </p:cNvPr>
          <p:cNvCxnSpPr>
            <a:cxnSpLocks/>
          </p:cNvCxnSpPr>
          <p:nvPr/>
        </p:nvCxnSpPr>
        <p:spPr>
          <a:xfrm>
            <a:off x="7332749" y="3782715"/>
            <a:ext cx="4439900" cy="0"/>
          </a:xfrm>
          <a:prstGeom prst="line">
            <a:avLst/>
          </a:prstGeom>
          <a:ln w="1270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0168B23-34EE-9359-7790-929F7149CEDA}"/>
              </a:ext>
            </a:extLst>
          </p:cNvPr>
          <p:cNvCxnSpPr>
            <a:cxnSpLocks/>
          </p:cNvCxnSpPr>
          <p:nvPr/>
        </p:nvCxnSpPr>
        <p:spPr>
          <a:xfrm flipV="1">
            <a:off x="9576519" y="1637544"/>
            <a:ext cx="0" cy="4290343"/>
          </a:xfrm>
          <a:prstGeom prst="line">
            <a:avLst/>
          </a:prstGeom>
          <a:ln w="1270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Scale cost-reflective pricing</a:t>
            </a:r>
          </a:p>
          <a:p>
            <a:pPr/>
            <a:r>
              <a:t>Optimise hedging strategies</a:t>
            </a:r>
          </a:p>
          <a:p>
            <a:pPr/>
            <a:r>
              <a:t>Segment customers by load shap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pPr/>
            <a:r>
              <a:t>Known know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7" sz="quarter"/>
          </p:nvPr>
        </p:nvSpPr>
        <p:spPr/>
        <p:txBody>
          <a:bodyPr/>
          <a:lstStyle/>
          <a:p>
            <a:pPr/>
            <a:r>
              <a:t>Invest in forecasting capability</a:t>
            </a:r>
          </a:p>
          <a:p>
            <a:pPr/>
            <a:r>
              <a:t>Introduce pricing buffers</a:t>
            </a:r>
          </a:p>
          <a:p>
            <a:pPr/>
            <a:r>
              <a:t>Pilot new proposition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8" sz="quarter"/>
          </p:nvPr>
        </p:nvSpPr>
        <p:spPr/>
        <p:txBody>
          <a:bodyPr/>
          <a:lstStyle/>
          <a:p>
            <a:pPr/>
            <a:r>
              <a:t>Known unknow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>
            <a:pPr/>
            <a:r>
              <a:t>Integrate data across functions</a:t>
            </a:r>
          </a:p>
          <a:p>
            <a:pPr/>
            <a:r>
              <a:t>Build HH-level P&amp;L visibility</a:t>
            </a:r>
          </a:p>
          <a:p>
            <a:pPr/>
            <a:r>
              <a:t>Align pricing and trading decision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20" sz="quarter"/>
          </p:nvPr>
        </p:nvSpPr>
        <p:spPr/>
        <p:txBody>
          <a:bodyPr/>
          <a:lstStyle/>
          <a:p>
            <a:pPr/>
            <a:r>
              <a:t>Unknown known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21" sz="quarter"/>
          </p:nvPr>
        </p:nvSpPr>
        <p:spPr/>
        <p:txBody>
          <a:bodyPr/>
          <a:lstStyle/>
          <a:p>
            <a:pPr/>
            <a:r>
              <a:t>Run scenario modelling</a:t>
            </a:r>
          </a:p>
          <a:p>
            <a:pPr/>
            <a:r>
              <a:t>Build optionality into products</a:t>
            </a:r>
          </a:p>
          <a:p>
            <a:pPr/>
            <a:r>
              <a:t>Establish test and learn cyc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22" sz="quarter"/>
          </p:nvPr>
        </p:nvSpPr>
        <p:spPr/>
        <p:txBody>
          <a:bodyPr/>
          <a:lstStyle/>
          <a:p>
            <a:pPr/>
            <a:r>
              <a:t>Unknown unknown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ach quadrant requires a different strategic response and capability focu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9B8E7D7-F082-7DCE-FF75-666824451F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HHS</a:t>
            </a:r>
            <a:br>
              <a:rPr lang="en-GB" dirty="0"/>
            </a:br>
            <a:r>
              <a:rPr lang="en-GB" dirty="0"/>
              <a:t>PROFIT SHIFT: VOLUME TO LOA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8C7CFE-8B00-508B-E8F1-0C5FDF96C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9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9766D0-8DF9-0EE5-4E57-10C3208D71C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--- TITLES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4EBB7CD2-4715-F34A-ACC5-615EB152311A}" vid="{9D4DD6B3-2AE5-6842-A589-C6FF613506D6}"/>
    </a:ext>
  </a:extLst>
</a:theme>
</file>

<file path=ppt/theme/theme2.xml><?xml version="1.0" encoding="utf-8"?>
<a:theme xmlns:a="http://schemas.openxmlformats.org/drawingml/2006/main" name="--- CONTENT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4EBB7CD2-4715-F34A-ACC5-615EB152311A}" vid="{0FE3447D-B573-DF40-BAAF-411E792F89D9}"/>
    </a:ext>
  </a:extLst>
</a:theme>
</file>

<file path=ppt/theme/theme3.xml><?xml version="1.0" encoding="utf-8"?>
<a:theme xmlns:a="http://schemas.openxmlformats.org/drawingml/2006/main" name="1_--- FEATURES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4EBB7CD2-4715-F34A-ACC5-615EB152311A}" vid="{50D7486A-D61C-8349-B78C-4465E9F81299}"/>
    </a:ext>
  </a:extLst>
</a:theme>
</file>

<file path=ppt/theme/theme4.xml><?xml version="1.0" encoding="utf-8"?>
<a:theme xmlns:a="http://schemas.openxmlformats.org/drawingml/2006/main" name="--- CLOSING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4EBB7CD2-4715-F34A-ACC5-615EB152311A}" vid="{2F37813F-71BA-834E-8748-5D0C5ED638A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9dba333-577e-48b5-9211-0510d5619410">
      <Terms xmlns="http://schemas.microsoft.com/office/infopath/2007/PartnerControls"/>
    </lcf76f155ced4ddcb4097134ff3c332f>
    <SharedWithUsers xmlns="8161456a-983f-4057-aae3-12b43deeda2c">
      <UserInfo>
        <DisplayName/>
        <AccountId xsi:nil="true"/>
        <AccountType/>
      </UserInfo>
    </SharedWithUsers>
    <TaxCatchAll xmlns="8161456a-983f-4057-aae3-12b43deeda2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7AF16FCDA1B9499A768193FF1DC1B7" ma:contentTypeVersion="19" ma:contentTypeDescription="Create a new document." ma:contentTypeScope="" ma:versionID="ea00fa05ad07f1c2200516f58f2f7c3b">
  <xsd:schema xmlns:xsd="http://www.w3.org/2001/XMLSchema" xmlns:xs="http://www.w3.org/2001/XMLSchema" xmlns:p="http://schemas.microsoft.com/office/2006/metadata/properties" xmlns:ns2="f9dba333-577e-48b5-9211-0510d5619410" xmlns:ns3="8161456a-983f-4057-aae3-12b43deeda2c" targetNamespace="http://schemas.microsoft.com/office/2006/metadata/properties" ma:root="true" ma:fieldsID="6536de64870143c1e5e792dce065f79c" ns2:_="" ns3:_="">
    <xsd:import namespace="f9dba333-577e-48b5-9211-0510d5619410"/>
    <xsd:import namespace="8161456a-983f-4057-aae3-12b43deeda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3:TaxCatchAll" minOccurs="0"/>
                <xsd:element ref="ns2:lcf76f155ced4ddcb4097134ff3c332f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dba333-577e-48b5-9211-0510d56194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f44c4f9-b934-4cd8-b927-cfee14c177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61456a-983f-4057-aae3-12b43deeda2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40235e3-b9bb-4a6c-be83-28c7a9538bc2}" ma:internalName="TaxCatchAll" ma:showField="CatchAllData" ma:web="8161456a-983f-4057-aae3-12b43deeda2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78E309B-7409-4963-BFC2-E8885A637518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161456a-983f-4057-aae3-12b43deeda2c"/>
    <ds:schemaRef ds:uri="http://purl.org/dc/dcmitype/"/>
    <ds:schemaRef ds:uri="f9dba333-577e-48b5-9211-0510d5619410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B520B69-2A5F-4A76-8B1B-BFBAAF5AEA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dba333-577e-48b5-9211-0510d5619410"/>
    <ds:schemaRef ds:uri="8161456a-983f-4057-aae3-12b43deeda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8408E70-B1CD-4F06-9E7E-A8D046F67A4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--- TITLES ---</Template>
  <TotalTime>273</TotalTime>
  <Words>161</Words>
  <Application>Microsoft Macintosh PowerPoint</Application>
  <PresentationFormat>Widescreen</PresentationFormat>
  <Paragraphs>2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Libre Baskerville</vt:lpstr>
      <vt:lpstr>Verdana</vt:lpstr>
      <vt:lpstr>Wingdings</vt:lpstr>
      <vt:lpstr>--- TITLES ---</vt:lpstr>
      <vt:lpstr>--- CONTENT ---</vt:lpstr>
      <vt:lpstr>1_--- FEATURES ---</vt:lpstr>
      <vt:lpstr>--- CLOSING ---</vt:lpstr>
      <vt:lpstr>think-cell Slide</vt:lpstr>
      <vt:lpstr>Slide Master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Turner</dc:creator>
  <cp:lastModifiedBy>Matt Turner</cp:lastModifiedBy>
  <cp:revision>2</cp:revision>
  <dcterms:created xsi:type="dcterms:W3CDTF">2026-04-02T23:17:07Z</dcterms:created>
  <dcterms:modified xsi:type="dcterms:W3CDTF">2026-04-08T21:0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7AF16FCDA1B9499A768193FF1DC1B7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